
<file path=[Content_Types].xml><?xml version="1.0" encoding="utf-8"?>
<Types xmlns="http://schemas.openxmlformats.org/package/2006/content-types">
  <Default Extension="glb" ContentType="model/gltf.binary"/>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4"/>
    <p:sldMasterId id="2147483709" r:id="rId5"/>
  </p:sldMasterIdLst>
  <p:notesMasterIdLst>
    <p:notesMasterId r:id="rId28"/>
  </p:notesMasterIdLst>
  <p:handoutMasterIdLst>
    <p:handoutMasterId r:id="rId29"/>
  </p:handoutMasterIdLst>
  <p:sldIdLst>
    <p:sldId id="664" r:id="rId6"/>
    <p:sldId id="579" r:id="rId7"/>
    <p:sldId id="651" r:id="rId8"/>
    <p:sldId id="662" r:id="rId9"/>
    <p:sldId id="652" r:id="rId10"/>
    <p:sldId id="666" r:id="rId11"/>
    <p:sldId id="669" r:id="rId12"/>
    <p:sldId id="663" r:id="rId13"/>
    <p:sldId id="670" r:id="rId14"/>
    <p:sldId id="667" r:id="rId15"/>
    <p:sldId id="672" r:id="rId16"/>
    <p:sldId id="673" r:id="rId17"/>
    <p:sldId id="677" r:id="rId18"/>
    <p:sldId id="675" r:id="rId19"/>
    <p:sldId id="674" r:id="rId20"/>
    <p:sldId id="676" r:id="rId21"/>
    <p:sldId id="654" r:id="rId22"/>
    <p:sldId id="257" r:id="rId23"/>
    <p:sldId id="259" r:id="rId24"/>
    <p:sldId id="659" r:id="rId25"/>
    <p:sldId id="258" r:id="rId26"/>
    <p:sldId id="678" r:id="rId27"/>
  </p:sldIdLst>
  <p:sldSz cx="12192000" cy="6858000"/>
  <p:notesSz cx="6858000" cy="9144000"/>
  <p:custDataLst>
    <p:tags r:id="rId3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seite" id="{9AFD9A65-2C14-4BD7-9469-F5EC1E936BD4}">
          <p14:sldIdLst>
            <p14:sldId id="664"/>
            <p14:sldId id="579"/>
            <p14:sldId id="651"/>
            <p14:sldId id="662"/>
            <p14:sldId id="652"/>
            <p14:sldId id="666"/>
            <p14:sldId id="669"/>
            <p14:sldId id="663"/>
            <p14:sldId id="670"/>
            <p14:sldId id="667"/>
            <p14:sldId id="672"/>
            <p14:sldId id="673"/>
            <p14:sldId id="677"/>
            <p14:sldId id="675"/>
            <p14:sldId id="674"/>
            <p14:sldId id="676"/>
            <p14:sldId id="654"/>
            <p14:sldId id="257"/>
            <p14:sldId id="259"/>
            <p14:sldId id="659"/>
            <p14:sldId id="258"/>
            <p14:sldId id="67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ogelc.tmt22" initials="v" lastIdx="1" clrIdx="0">
    <p:extLst>
      <p:ext uri="{19B8F6BF-5375-455C-9EA6-DF929625EA0E}">
        <p15:presenceInfo xmlns:p15="http://schemas.microsoft.com/office/powerpoint/2012/main" userId="S-1-5-21-3381381580-3968739288-3351514432-4996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780"/>
    <a:srgbClr val="FA8787"/>
    <a:srgbClr val="C8F7C8"/>
    <a:srgbClr val="92FC92"/>
    <a:srgbClr val="6AB0E2"/>
    <a:srgbClr val="A6D0EE"/>
    <a:srgbClr val="F0A1A1"/>
    <a:srgbClr val="222626"/>
    <a:srgbClr val="FFFF7A"/>
    <a:srgbClr val="BC98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36F648-F6C8-E193-5D25-278D56CE3E60}" v="10" dt="2025-02-17T12:39:29.0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429" autoAdjust="0"/>
    <p:restoredTop sz="94660"/>
  </p:normalViewPr>
  <p:slideViewPr>
    <p:cSldViewPr snapToGrid="0">
      <p:cViewPr varScale="1">
        <p:scale>
          <a:sx n="102" d="100"/>
          <a:sy n="102" d="100"/>
        </p:scale>
        <p:origin x="336" y="13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ke Johnston" userId="S::l9johnst@uwaterloo.ca::7be5ec8b-ae88-4142-92f0-36c89b907afe" providerId="AD" clId="Web-{0C2279DB-974F-9B24-AA22-9B71CC82E42F}"/>
    <pc:docChg chg="modSld">
      <pc:chgData name="Luke Johnston" userId="S::l9johnst@uwaterloo.ca::7be5ec8b-ae88-4142-92f0-36c89b907afe" providerId="AD" clId="Web-{0C2279DB-974F-9B24-AA22-9B71CC82E42F}" dt="2024-10-08T23:04:15.892" v="9" actId="20577"/>
      <pc:docMkLst>
        <pc:docMk/>
      </pc:docMkLst>
      <pc:sldChg chg="modSp">
        <pc:chgData name="Luke Johnston" userId="S::l9johnst@uwaterloo.ca::7be5ec8b-ae88-4142-92f0-36c89b907afe" providerId="AD" clId="Web-{0C2279DB-974F-9B24-AA22-9B71CC82E42F}" dt="2024-10-08T23:04:15.892" v="9" actId="20577"/>
        <pc:sldMkLst>
          <pc:docMk/>
          <pc:sldMk cId="211836646" sldId="650"/>
        </pc:sldMkLst>
      </pc:sldChg>
    </pc:docChg>
  </pc:docChgLst>
  <pc:docChgLst>
    <pc:chgData name="Gavin Grimm" userId="6c4cb79d-2b23-417c-a733-7dcc36d0b4a1" providerId="ADAL" clId="{D1024456-BBD0-A244-982F-C0CC15FD97B0}"/>
    <pc:docChg chg="modSld">
      <pc:chgData name="Gavin Grimm" userId="6c4cb79d-2b23-417c-a733-7dcc36d0b4a1" providerId="ADAL" clId="{D1024456-BBD0-A244-982F-C0CC15FD97B0}" dt="2024-11-27T13:44:39.247" v="44" actId="20577"/>
      <pc:docMkLst>
        <pc:docMk/>
      </pc:docMkLst>
      <pc:sldChg chg="modSp modNotesTx">
        <pc:chgData name="Gavin Grimm" userId="6c4cb79d-2b23-417c-a733-7dcc36d0b4a1" providerId="ADAL" clId="{D1024456-BBD0-A244-982F-C0CC15FD97B0}" dt="2024-11-27T13:44:39.247" v="44" actId="20577"/>
        <pc:sldMkLst>
          <pc:docMk/>
          <pc:sldMk cId="2450281343" sldId="257"/>
        </pc:sldMkLst>
        <pc:spChg chg="mod">
          <ac:chgData name="Gavin Grimm" userId="6c4cb79d-2b23-417c-a733-7dcc36d0b4a1" providerId="ADAL" clId="{D1024456-BBD0-A244-982F-C0CC15FD97B0}" dt="2024-11-27T13:43:25.630" v="26" actId="20577"/>
          <ac:spMkLst>
            <pc:docMk/>
            <pc:sldMk cId="2450281343" sldId="257"/>
            <ac:spMk id="3" creationId="{B322C162-A73E-E6E1-F690-1E235B33E0F8}"/>
          </ac:spMkLst>
        </pc:spChg>
      </pc:sldChg>
    </pc:docChg>
  </pc:docChgLst>
  <pc:docChgLst>
    <pc:chgData name="bullingerm.tmt22" userId="9ce3b8b2-035f-4175-b301-998b03a50e38" providerId="ADAL" clId="{D8E03A0D-8A42-4CF5-82BF-586E462557BB}"/>
    <pc:docChg chg="undo custSel addSld delSld modSld sldOrd modSection replTag">
      <pc:chgData name="bullingerm.tmt22" userId="9ce3b8b2-035f-4175-b301-998b03a50e38" providerId="ADAL" clId="{D8E03A0D-8A42-4CF5-82BF-586E462557BB}" dt="2024-03-04T18:47:12.088" v="4084" actId="207"/>
      <pc:docMkLst>
        <pc:docMk/>
      </pc:docMkLst>
      <pc:sldChg chg="del">
        <pc:chgData name="bullingerm.tmt22" userId="9ce3b8b2-035f-4175-b301-998b03a50e38" providerId="ADAL" clId="{D8E03A0D-8A42-4CF5-82BF-586E462557BB}" dt="2024-03-01T10:49:26.730" v="1071" actId="47"/>
        <pc:sldMkLst>
          <pc:docMk/>
          <pc:sldMk cId="1234127743" sldId="261"/>
        </pc:sldMkLst>
      </pc:sldChg>
      <pc:sldChg chg="addSp delSp modSp mod ord">
        <pc:chgData name="bullingerm.tmt22" userId="9ce3b8b2-035f-4175-b301-998b03a50e38" providerId="ADAL" clId="{D8E03A0D-8A42-4CF5-82BF-586E462557BB}" dt="2024-03-01T09:18:04.192" v="111" actId="478"/>
        <pc:sldMkLst>
          <pc:docMk/>
          <pc:sldMk cId="3664439336" sldId="262"/>
        </pc:sldMkLst>
      </pc:sldChg>
      <pc:sldChg chg="delSp modSp mod modNotesTx">
        <pc:chgData name="bullingerm.tmt22" userId="9ce3b8b2-035f-4175-b301-998b03a50e38" providerId="ADAL" clId="{D8E03A0D-8A42-4CF5-82BF-586E462557BB}" dt="2024-03-04T18:00:32.221" v="3104" actId="20577"/>
        <pc:sldMkLst>
          <pc:docMk/>
          <pc:sldMk cId="2953579200" sldId="264"/>
        </pc:sldMkLst>
      </pc:sldChg>
      <pc:sldChg chg="del">
        <pc:chgData name="bullingerm.tmt22" userId="9ce3b8b2-035f-4175-b301-998b03a50e38" providerId="ADAL" clId="{D8E03A0D-8A42-4CF5-82BF-586E462557BB}" dt="2024-03-04T15:31:27.155" v="1089" actId="47"/>
        <pc:sldMkLst>
          <pc:docMk/>
          <pc:sldMk cId="3656611490" sldId="265"/>
        </pc:sldMkLst>
      </pc:sldChg>
      <pc:sldChg chg="del">
        <pc:chgData name="bullingerm.tmt22" userId="9ce3b8b2-035f-4175-b301-998b03a50e38" providerId="ADAL" clId="{D8E03A0D-8A42-4CF5-82BF-586E462557BB}" dt="2024-03-04T15:31:29.114" v="1090" actId="47"/>
        <pc:sldMkLst>
          <pc:docMk/>
          <pc:sldMk cId="3450439991" sldId="547"/>
        </pc:sldMkLst>
      </pc:sldChg>
      <pc:sldChg chg="del">
        <pc:chgData name="bullingerm.tmt22" userId="9ce3b8b2-035f-4175-b301-998b03a50e38" providerId="ADAL" clId="{D8E03A0D-8A42-4CF5-82BF-586E462557BB}" dt="2024-03-04T17:54:45.657" v="2765" actId="47"/>
        <pc:sldMkLst>
          <pc:docMk/>
          <pc:sldMk cId="576951194" sldId="551"/>
        </pc:sldMkLst>
      </pc:sldChg>
      <pc:sldChg chg="del">
        <pc:chgData name="bullingerm.tmt22" userId="9ce3b8b2-035f-4175-b301-998b03a50e38" providerId="ADAL" clId="{D8E03A0D-8A42-4CF5-82BF-586E462557BB}" dt="2024-03-04T17:54:47.962" v="2767" actId="47"/>
        <pc:sldMkLst>
          <pc:docMk/>
          <pc:sldMk cId="2820078257" sldId="552"/>
        </pc:sldMkLst>
      </pc:sldChg>
      <pc:sldChg chg="del">
        <pc:chgData name="bullingerm.tmt22" userId="9ce3b8b2-035f-4175-b301-998b03a50e38" providerId="ADAL" clId="{D8E03A0D-8A42-4CF5-82BF-586E462557BB}" dt="2024-03-04T17:54:46.942" v="2766" actId="47"/>
        <pc:sldMkLst>
          <pc:docMk/>
          <pc:sldMk cId="1433165054" sldId="553"/>
        </pc:sldMkLst>
      </pc:sldChg>
      <pc:sldChg chg="del">
        <pc:chgData name="bullingerm.tmt22" userId="9ce3b8b2-035f-4175-b301-998b03a50e38" providerId="ADAL" clId="{D8E03A0D-8A42-4CF5-82BF-586E462557BB}" dt="2024-03-04T15:31:34.920" v="1091" actId="47"/>
        <pc:sldMkLst>
          <pc:docMk/>
          <pc:sldMk cId="3604157687" sldId="554"/>
        </pc:sldMkLst>
      </pc:sldChg>
      <pc:sldChg chg="del">
        <pc:chgData name="bullingerm.tmt22" userId="9ce3b8b2-035f-4175-b301-998b03a50e38" providerId="ADAL" clId="{D8E03A0D-8A42-4CF5-82BF-586E462557BB}" dt="2024-03-04T15:31:36.273" v="1092" actId="47"/>
        <pc:sldMkLst>
          <pc:docMk/>
          <pc:sldMk cId="1915366194" sldId="555"/>
        </pc:sldMkLst>
      </pc:sldChg>
      <pc:sldChg chg="del">
        <pc:chgData name="bullingerm.tmt22" userId="9ce3b8b2-035f-4175-b301-998b03a50e38" providerId="ADAL" clId="{D8E03A0D-8A42-4CF5-82BF-586E462557BB}" dt="2024-03-04T15:31:38.447" v="1093" actId="47"/>
        <pc:sldMkLst>
          <pc:docMk/>
          <pc:sldMk cId="3168591151" sldId="556"/>
        </pc:sldMkLst>
      </pc:sldChg>
      <pc:sldChg chg="del">
        <pc:chgData name="bullingerm.tmt22" userId="9ce3b8b2-035f-4175-b301-998b03a50e38" providerId="ADAL" clId="{D8E03A0D-8A42-4CF5-82BF-586E462557BB}" dt="2024-03-04T15:31:39.298" v="1094" actId="47"/>
        <pc:sldMkLst>
          <pc:docMk/>
          <pc:sldMk cId="4124692515" sldId="557"/>
        </pc:sldMkLst>
      </pc:sldChg>
      <pc:sldChg chg="del">
        <pc:chgData name="bullingerm.tmt22" userId="9ce3b8b2-035f-4175-b301-998b03a50e38" providerId="ADAL" clId="{D8E03A0D-8A42-4CF5-82BF-586E462557BB}" dt="2024-03-04T15:31:41.087" v="1095" actId="47"/>
        <pc:sldMkLst>
          <pc:docMk/>
          <pc:sldMk cId="719841652" sldId="558"/>
        </pc:sldMkLst>
      </pc:sldChg>
      <pc:sldChg chg="del">
        <pc:chgData name="bullingerm.tmt22" userId="9ce3b8b2-035f-4175-b301-998b03a50e38" providerId="ADAL" clId="{D8E03A0D-8A42-4CF5-82BF-586E462557BB}" dt="2024-03-04T15:31:43.127" v="1096" actId="47"/>
        <pc:sldMkLst>
          <pc:docMk/>
          <pc:sldMk cId="4188208450" sldId="559"/>
        </pc:sldMkLst>
      </pc:sldChg>
      <pc:sldChg chg="del">
        <pc:chgData name="bullingerm.tmt22" userId="9ce3b8b2-035f-4175-b301-998b03a50e38" providerId="ADAL" clId="{D8E03A0D-8A42-4CF5-82BF-586E462557BB}" dt="2024-03-04T15:31:44.132" v="1097" actId="47"/>
        <pc:sldMkLst>
          <pc:docMk/>
          <pc:sldMk cId="789104344" sldId="560"/>
        </pc:sldMkLst>
      </pc:sldChg>
      <pc:sldChg chg="del">
        <pc:chgData name="bullingerm.tmt22" userId="9ce3b8b2-035f-4175-b301-998b03a50e38" providerId="ADAL" clId="{D8E03A0D-8A42-4CF5-82BF-586E462557BB}" dt="2024-03-04T15:31:44.973" v="1098" actId="47"/>
        <pc:sldMkLst>
          <pc:docMk/>
          <pc:sldMk cId="599911799" sldId="561"/>
        </pc:sldMkLst>
      </pc:sldChg>
      <pc:sldChg chg="ord">
        <pc:chgData name="bullingerm.tmt22" userId="9ce3b8b2-035f-4175-b301-998b03a50e38" providerId="ADAL" clId="{D8E03A0D-8A42-4CF5-82BF-586E462557BB}" dt="2024-03-04T15:31:50.937" v="1100"/>
        <pc:sldMkLst>
          <pc:docMk/>
          <pc:sldMk cId="2083976492" sldId="562"/>
        </pc:sldMkLst>
      </pc:sldChg>
      <pc:sldChg chg="del">
        <pc:chgData name="bullingerm.tmt22" userId="9ce3b8b2-035f-4175-b301-998b03a50e38" providerId="ADAL" clId="{D8E03A0D-8A42-4CF5-82BF-586E462557BB}" dt="2024-03-04T15:31:56.192" v="1104" actId="47"/>
        <pc:sldMkLst>
          <pc:docMk/>
          <pc:sldMk cId="1496753174" sldId="566"/>
        </pc:sldMkLst>
      </pc:sldChg>
      <pc:sldChg chg="del">
        <pc:chgData name="bullingerm.tmt22" userId="9ce3b8b2-035f-4175-b301-998b03a50e38" providerId="ADAL" clId="{D8E03A0D-8A42-4CF5-82BF-586E462557BB}" dt="2024-03-04T15:31:56.963" v="1105" actId="47"/>
        <pc:sldMkLst>
          <pc:docMk/>
          <pc:sldMk cId="2695844911" sldId="567"/>
        </pc:sldMkLst>
      </pc:sldChg>
      <pc:sldChg chg="del">
        <pc:chgData name="bullingerm.tmt22" userId="9ce3b8b2-035f-4175-b301-998b03a50e38" providerId="ADAL" clId="{D8E03A0D-8A42-4CF5-82BF-586E462557BB}" dt="2024-03-04T15:31:58.382" v="1106" actId="47"/>
        <pc:sldMkLst>
          <pc:docMk/>
          <pc:sldMk cId="382819080" sldId="568"/>
        </pc:sldMkLst>
      </pc:sldChg>
      <pc:sldChg chg="del">
        <pc:chgData name="bullingerm.tmt22" userId="9ce3b8b2-035f-4175-b301-998b03a50e38" providerId="ADAL" clId="{D8E03A0D-8A42-4CF5-82BF-586E462557BB}" dt="2024-03-04T15:31:59.354" v="1107" actId="47"/>
        <pc:sldMkLst>
          <pc:docMk/>
          <pc:sldMk cId="1525964500" sldId="569"/>
        </pc:sldMkLst>
      </pc:sldChg>
      <pc:sldChg chg="ord">
        <pc:chgData name="bullingerm.tmt22" userId="9ce3b8b2-035f-4175-b301-998b03a50e38" providerId="ADAL" clId="{D8E03A0D-8A42-4CF5-82BF-586E462557BB}" dt="2024-03-04T15:31:52.275" v="1102"/>
        <pc:sldMkLst>
          <pc:docMk/>
          <pc:sldMk cId="1413071935" sldId="572"/>
        </pc:sldMkLst>
      </pc:sldChg>
      <pc:sldChg chg="del">
        <pc:chgData name="bullingerm.tmt22" userId="9ce3b8b2-035f-4175-b301-998b03a50e38" providerId="ADAL" clId="{D8E03A0D-8A42-4CF5-82BF-586E462557BB}" dt="2024-03-04T15:31:55.190" v="1103" actId="47"/>
        <pc:sldMkLst>
          <pc:docMk/>
          <pc:sldMk cId="240855694" sldId="573"/>
        </pc:sldMkLst>
      </pc:sldChg>
      <pc:sldChg chg="addSp delSp modSp mod">
        <pc:chgData name="bullingerm.tmt22" userId="9ce3b8b2-035f-4175-b301-998b03a50e38" providerId="ADAL" clId="{D8E03A0D-8A42-4CF5-82BF-586E462557BB}" dt="2024-03-04T17:44:55.918" v="2246"/>
        <pc:sldMkLst>
          <pc:docMk/>
          <pc:sldMk cId="326362598" sldId="579"/>
        </pc:sldMkLst>
      </pc:sldChg>
      <pc:sldChg chg="addSp delSp modSp mod">
        <pc:chgData name="bullingerm.tmt22" userId="9ce3b8b2-035f-4175-b301-998b03a50e38" providerId="ADAL" clId="{D8E03A0D-8A42-4CF5-82BF-586E462557BB}" dt="2024-03-04T17:44:56.128" v="2299"/>
        <pc:sldMkLst>
          <pc:docMk/>
          <pc:sldMk cId="459806595" sldId="580"/>
        </pc:sldMkLst>
      </pc:sldChg>
      <pc:sldChg chg="addSp delSp modSp mod">
        <pc:chgData name="bullingerm.tmt22" userId="9ce3b8b2-035f-4175-b301-998b03a50e38" providerId="ADAL" clId="{D8E03A0D-8A42-4CF5-82BF-586E462557BB}" dt="2024-03-04T17:44:56.423" v="2405"/>
        <pc:sldMkLst>
          <pc:docMk/>
          <pc:sldMk cId="965765845" sldId="581"/>
        </pc:sldMkLst>
      </pc:sldChg>
      <pc:sldChg chg="addSp delSp modSp del mod">
        <pc:chgData name="bullingerm.tmt22" userId="9ce3b8b2-035f-4175-b301-998b03a50e38" providerId="ADAL" clId="{D8E03A0D-8A42-4CF5-82BF-586E462557BB}" dt="2024-03-04T17:44:54.611" v="1769" actId="2696"/>
        <pc:sldMkLst>
          <pc:docMk/>
          <pc:sldMk cId="1945724814" sldId="582"/>
        </pc:sldMkLst>
      </pc:sldChg>
      <pc:sldChg chg="addSp delSp modSp mod">
        <pc:chgData name="bullingerm.tmt22" userId="9ce3b8b2-035f-4175-b301-998b03a50e38" providerId="ADAL" clId="{D8E03A0D-8A42-4CF5-82BF-586E462557BB}" dt="2024-03-04T17:44:56.533" v="2458"/>
        <pc:sldMkLst>
          <pc:docMk/>
          <pc:sldMk cId="2423218208" sldId="583"/>
        </pc:sldMkLst>
      </pc:sldChg>
      <pc:sldChg chg="addSp delSp modSp mod">
        <pc:chgData name="bullingerm.tmt22" userId="9ce3b8b2-035f-4175-b301-998b03a50e38" providerId="ADAL" clId="{D8E03A0D-8A42-4CF5-82BF-586E462557BB}" dt="2024-03-04T17:44:55.828" v="2193"/>
        <pc:sldMkLst>
          <pc:docMk/>
          <pc:sldMk cId="1339647628" sldId="586"/>
        </pc:sldMkLst>
      </pc:sldChg>
      <pc:sldChg chg="addSp delSp modSp add del mod">
        <pc:chgData name="bullingerm.tmt22" userId="9ce3b8b2-035f-4175-b301-998b03a50e38" providerId="ADAL" clId="{D8E03A0D-8A42-4CF5-82BF-586E462557BB}" dt="2024-03-04T17:44:56.628" v="2509"/>
        <pc:sldMkLst>
          <pc:docMk/>
          <pc:sldMk cId="2468756552" sldId="590"/>
        </pc:sldMkLst>
      </pc:sldChg>
      <pc:sldChg chg="addSp delSp modSp mod modClrScheme chgLayout">
        <pc:chgData name="bullingerm.tmt22" userId="9ce3b8b2-035f-4175-b301-998b03a50e38" providerId="ADAL" clId="{D8E03A0D-8A42-4CF5-82BF-586E462557BB}" dt="2024-03-04T18:23:17.316" v="3538" actId="20577"/>
        <pc:sldMkLst>
          <pc:docMk/>
          <pc:sldMk cId="3574513803" sldId="591"/>
        </pc:sldMkLst>
      </pc:sldChg>
      <pc:sldChg chg="addSp delSp modSp mod">
        <pc:chgData name="bullingerm.tmt22" userId="9ce3b8b2-035f-4175-b301-998b03a50e38" providerId="ADAL" clId="{D8E03A0D-8A42-4CF5-82BF-586E462557BB}" dt="2024-03-04T17:44:56.239" v="2352"/>
        <pc:sldMkLst>
          <pc:docMk/>
          <pc:sldMk cId="4264639648" sldId="595"/>
        </pc:sldMkLst>
      </pc:sldChg>
      <pc:sldChg chg="addSp delSp modSp add mod ord">
        <pc:chgData name="bullingerm.tmt22" userId="9ce3b8b2-035f-4175-b301-998b03a50e38" providerId="ADAL" clId="{D8E03A0D-8A42-4CF5-82BF-586E462557BB}" dt="2024-03-04T18:47:12.088" v="4084" actId="207"/>
        <pc:sldMkLst>
          <pc:docMk/>
          <pc:sldMk cId="2284291004" sldId="596"/>
        </pc:sldMkLst>
      </pc:sldChg>
      <pc:sldChg chg="delSp modSp del mod">
        <pc:chgData name="bullingerm.tmt22" userId="9ce3b8b2-035f-4175-b301-998b03a50e38" providerId="ADAL" clId="{D8E03A0D-8A42-4CF5-82BF-586E462557BB}" dt="2024-03-01T10:49:09.608" v="1067" actId="2696"/>
        <pc:sldMkLst>
          <pc:docMk/>
          <pc:sldMk cId="3557217094" sldId="596"/>
        </pc:sldMkLst>
      </pc:sldChg>
      <pc:sldChg chg="del">
        <pc:chgData name="bullingerm.tmt22" userId="9ce3b8b2-035f-4175-b301-998b03a50e38" providerId="ADAL" clId="{D8E03A0D-8A42-4CF5-82BF-586E462557BB}" dt="2024-03-01T10:49:09.608" v="1064" actId="2696"/>
        <pc:sldMkLst>
          <pc:docMk/>
          <pc:sldMk cId="3031491517" sldId="597"/>
        </pc:sldMkLst>
      </pc:sldChg>
      <pc:sldChg chg="new del">
        <pc:chgData name="bullingerm.tmt22" userId="9ce3b8b2-035f-4175-b301-998b03a50e38" providerId="ADAL" clId="{D8E03A0D-8A42-4CF5-82BF-586E462557BB}" dt="2024-03-04T17:27:56.430" v="1691" actId="47"/>
        <pc:sldMkLst>
          <pc:docMk/>
          <pc:sldMk cId="4047968033" sldId="597"/>
        </pc:sldMkLst>
      </pc:sldChg>
      <pc:sldChg chg="modSp add mod ord">
        <pc:chgData name="bullingerm.tmt22" userId="9ce3b8b2-035f-4175-b301-998b03a50e38" providerId="ADAL" clId="{D8E03A0D-8A42-4CF5-82BF-586E462557BB}" dt="2024-03-04T18:01:29.060" v="3106"/>
        <pc:sldMkLst>
          <pc:docMk/>
          <pc:sldMk cId="473444533" sldId="598"/>
        </pc:sldMkLst>
      </pc:sldChg>
      <pc:sldChg chg="del">
        <pc:chgData name="bullingerm.tmt22" userId="9ce3b8b2-035f-4175-b301-998b03a50e38" providerId="ADAL" clId="{D8E03A0D-8A42-4CF5-82BF-586E462557BB}" dt="2024-03-01T10:49:09.592" v="1063" actId="2696"/>
        <pc:sldMkLst>
          <pc:docMk/>
          <pc:sldMk cId="589592324" sldId="598"/>
        </pc:sldMkLst>
      </pc:sldChg>
      <pc:sldChg chg="delSp modSp del mod">
        <pc:chgData name="bullingerm.tmt22" userId="9ce3b8b2-035f-4175-b301-998b03a50e38" providerId="ADAL" clId="{D8E03A0D-8A42-4CF5-82BF-586E462557BB}" dt="2024-03-04T17:44:56.718" v="2554" actId="2696"/>
        <pc:sldMkLst>
          <pc:docMk/>
          <pc:sldMk cId="1718200707" sldId="599"/>
        </pc:sldMkLst>
      </pc:sldChg>
      <pc:sldChg chg="modSp add mod">
        <pc:chgData name="bullingerm.tmt22" userId="9ce3b8b2-035f-4175-b301-998b03a50e38" providerId="ADAL" clId="{D8E03A0D-8A42-4CF5-82BF-586E462557BB}" dt="2024-03-04T18:33:50.447" v="4081" actId="20577"/>
        <pc:sldMkLst>
          <pc:docMk/>
          <pc:sldMk cId="3696754893" sldId="599"/>
        </pc:sldMkLst>
      </pc:sldChg>
      <pc:sldChg chg="del">
        <pc:chgData name="bullingerm.tmt22" userId="9ce3b8b2-035f-4175-b301-998b03a50e38" providerId="ADAL" clId="{D8E03A0D-8A42-4CF5-82BF-586E462557BB}" dt="2024-03-04T17:44:56.708" v="2551" actId="2696"/>
        <pc:sldMkLst>
          <pc:docMk/>
          <pc:sldMk cId="915495461" sldId="600"/>
        </pc:sldMkLst>
      </pc:sldChg>
      <pc:sldChg chg="delSp add">
        <pc:chgData name="bullingerm.tmt22" userId="9ce3b8b2-035f-4175-b301-998b03a50e38" providerId="ADAL" clId="{D8E03A0D-8A42-4CF5-82BF-586E462557BB}" dt="2024-03-04T18:40:41.893" v="4083" actId="478"/>
        <pc:sldMkLst>
          <pc:docMk/>
          <pc:sldMk cId="1733906716" sldId="600"/>
        </pc:sldMkLst>
      </pc:sldChg>
      <pc:sldChg chg="del">
        <pc:chgData name="bullingerm.tmt22" userId="9ce3b8b2-035f-4175-b301-998b03a50e38" providerId="ADAL" clId="{D8E03A0D-8A42-4CF5-82BF-586E462557BB}" dt="2024-03-04T17:44:56.708" v="2550" actId="2696"/>
        <pc:sldMkLst>
          <pc:docMk/>
          <pc:sldMk cId="632526077" sldId="601"/>
        </pc:sldMkLst>
      </pc:sldChg>
    </pc:docChg>
  </pc:docChgLst>
  <pc:docChgLst>
    <pc:chgData name="Bullinger, Marvin" userId="5b54ce5a-dc89-476f-af33-5abd75d5b1e8" providerId="ADAL" clId="{265A6489-94A2-4E64-A25F-E64F69B0C2C1}"/>
    <pc:docChg chg="undo custSel addSld delSld modSld sldOrd modMainMaster modSection replTag">
      <pc:chgData name="Bullinger, Marvin" userId="5b54ce5a-dc89-476f-af33-5abd75d5b1e8" providerId="ADAL" clId="{265A6489-94A2-4E64-A25F-E64F69B0C2C1}" dt="2024-03-11T07:16:31.923" v="5711"/>
      <pc:docMkLst>
        <pc:docMk/>
      </pc:docMkLst>
      <pc:sldChg chg="addSp delSp modSp mod">
        <pc:chgData name="Bullinger, Marvin" userId="5b54ce5a-dc89-476f-af33-5abd75d5b1e8" providerId="ADAL" clId="{265A6489-94A2-4E64-A25F-E64F69B0C2C1}" dt="2024-03-11T07:16:31.923" v="5711"/>
        <pc:sldMkLst>
          <pc:docMk/>
          <pc:sldMk cId="3664439336" sldId="262"/>
        </pc:sldMkLst>
      </pc:sldChg>
      <pc:sldChg chg="addSp delSp modSp mod modAnim">
        <pc:chgData name="Bullinger, Marvin" userId="5b54ce5a-dc89-476f-af33-5abd75d5b1e8" providerId="ADAL" clId="{265A6489-94A2-4E64-A25F-E64F69B0C2C1}" dt="2024-03-08T14:15:00.876" v="5462"/>
        <pc:sldMkLst>
          <pc:docMk/>
          <pc:sldMk cId="2953579200" sldId="264"/>
        </pc:sldMkLst>
      </pc:sldChg>
      <pc:sldChg chg="addSp delSp modSp mod ord modAnim">
        <pc:chgData name="Bullinger, Marvin" userId="5b54ce5a-dc89-476f-af33-5abd75d5b1e8" providerId="ADAL" clId="{265A6489-94A2-4E64-A25F-E64F69B0C2C1}" dt="2024-03-08T14:52:45.331" v="5481" actId="1076"/>
        <pc:sldMkLst>
          <pc:docMk/>
          <pc:sldMk cId="3814452180" sldId="266"/>
        </pc:sldMkLst>
      </pc:sldChg>
      <pc:sldChg chg="del">
        <pc:chgData name="Bullinger, Marvin" userId="5b54ce5a-dc89-476f-af33-5abd75d5b1e8" providerId="ADAL" clId="{265A6489-94A2-4E64-A25F-E64F69B0C2C1}" dt="2024-03-05T22:13:23.829" v="4240" actId="47"/>
        <pc:sldMkLst>
          <pc:docMk/>
          <pc:sldMk cId="304157022" sldId="540"/>
        </pc:sldMkLst>
      </pc:sldChg>
      <pc:sldChg chg="del">
        <pc:chgData name="Bullinger, Marvin" userId="5b54ce5a-dc89-476f-af33-5abd75d5b1e8" providerId="ADAL" clId="{265A6489-94A2-4E64-A25F-E64F69B0C2C1}" dt="2024-03-05T22:13:25.783" v="4241" actId="47"/>
        <pc:sldMkLst>
          <pc:docMk/>
          <pc:sldMk cId="4137227083" sldId="541"/>
        </pc:sldMkLst>
      </pc:sldChg>
      <pc:sldChg chg="addSp delSp modSp mod">
        <pc:chgData name="Bullinger, Marvin" userId="5b54ce5a-dc89-476f-af33-5abd75d5b1e8" providerId="ADAL" clId="{265A6489-94A2-4E64-A25F-E64F69B0C2C1}" dt="2024-03-06T14:03:05.085" v="5393" actId="1076"/>
        <pc:sldMkLst>
          <pc:docMk/>
          <pc:sldMk cId="4287890113" sldId="549"/>
        </pc:sldMkLst>
      </pc:sldChg>
      <pc:sldChg chg="addSp delSp modSp mod modAnim">
        <pc:chgData name="Bullinger, Marvin" userId="5b54ce5a-dc89-476f-af33-5abd75d5b1e8" providerId="ADAL" clId="{265A6489-94A2-4E64-A25F-E64F69B0C2C1}" dt="2024-03-08T15:05:35.959" v="5504" actId="20577"/>
        <pc:sldMkLst>
          <pc:docMk/>
          <pc:sldMk cId="2083976492" sldId="562"/>
        </pc:sldMkLst>
      </pc:sldChg>
      <pc:sldChg chg="del">
        <pc:chgData name="Bullinger, Marvin" userId="5b54ce5a-dc89-476f-af33-5abd75d5b1e8" providerId="ADAL" clId="{265A6489-94A2-4E64-A25F-E64F69B0C2C1}" dt="2024-03-05T22:13:13.244" v="4235" actId="47"/>
        <pc:sldMkLst>
          <pc:docMk/>
          <pc:sldMk cId="1390316162" sldId="563"/>
        </pc:sldMkLst>
      </pc:sldChg>
      <pc:sldChg chg="del">
        <pc:chgData name="Bullinger, Marvin" userId="5b54ce5a-dc89-476f-af33-5abd75d5b1e8" providerId="ADAL" clId="{265A6489-94A2-4E64-A25F-E64F69B0C2C1}" dt="2024-03-05T22:13:15.864" v="4236" actId="47"/>
        <pc:sldMkLst>
          <pc:docMk/>
          <pc:sldMk cId="1340428863" sldId="564"/>
        </pc:sldMkLst>
      </pc:sldChg>
      <pc:sldChg chg="del">
        <pc:chgData name="Bullinger, Marvin" userId="5b54ce5a-dc89-476f-af33-5abd75d5b1e8" providerId="ADAL" clId="{265A6489-94A2-4E64-A25F-E64F69B0C2C1}" dt="2024-03-05T22:13:21.943" v="4239" actId="47"/>
        <pc:sldMkLst>
          <pc:docMk/>
          <pc:sldMk cId="344116882" sldId="570"/>
        </pc:sldMkLst>
      </pc:sldChg>
      <pc:sldChg chg="addSp delSp modSp mod modAnim">
        <pc:chgData name="Bullinger, Marvin" userId="5b54ce5a-dc89-476f-af33-5abd75d5b1e8" providerId="ADAL" clId="{265A6489-94A2-4E64-A25F-E64F69B0C2C1}" dt="2024-03-11T07:06:19.535" v="5684"/>
        <pc:sldMkLst>
          <pc:docMk/>
          <pc:sldMk cId="1413071935" sldId="572"/>
        </pc:sldMkLst>
      </pc:sldChg>
      <pc:sldChg chg="addSp delSp modSp mod">
        <pc:chgData name="Bullinger, Marvin" userId="5b54ce5a-dc89-476f-af33-5abd75d5b1e8" providerId="ADAL" clId="{265A6489-94A2-4E64-A25F-E64F69B0C2C1}" dt="2024-03-06T13:51:24.224" v="5103" actId="20577"/>
        <pc:sldMkLst>
          <pc:docMk/>
          <pc:sldMk cId="326362598" sldId="579"/>
        </pc:sldMkLst>
      </pc:sldChg>
      <pc:sldChg chg="addSp delSp modSp mod">
        <pc:chgData name="Bullinger, Marvin" userId="5b54ce5a-dc89-476f-af33-5abd75d5b1e8" providerId="ADAL" clId="{265A6489-94A2-4E64-A25F-E64F69B0C2C1}" dt="2024-03-06T13:55:32.438" v="5169" actId="20577"/>
        <pc:sldMkLst>
          <pc:docMk/>
          <pc:sldMk cId="459806595" sldId="580"/>
        </pc:sldMkLst>
      </pc:sldChg>
      <pc:sldChg chg="addSp delSp modSp mod">
        <pc:chgData name="Bullinger, Marvin" userId="5b54ce5a-dc89-476f-af33-5abd75d5b1e8" providerId="ADAL" clId="{265A6489-94A2-4E64-A25F-E64F69B0C2C1}" dt="2024-03-06T14:06:20.581" v="5448" actId="20577"/>
        <pc:sldMkLst>
          <pc:docMk/>
          <pc:sldMk cId="965765845" sldId="581"/>
        </pc:sldMkLst>
      </pc:sldChg>
      <pc:sldChg chg="del">
        <pc:chgData name="Bullinger, Marvin" userId="5b54ce5a-dc89-476f-af33-5abd75d5b1e8" providerId="ADAL" clId="{265A6489-94A2-4E64-A25F-E64F69B0C2C1}" dt="2024-03-05T20:07:14.016" v="101" actId="2696"/>
        <pc:sldMkLst>
          <pc:docMk/>
          <pc:sldMk cId="2423218208" sldId="583"/>
        </pc:sldMkLst>
      </pc:sldChg>
      <pc:sldChg chg="addSp delSp modSp mod">
        <pc:chgData name="Bullinger, Marvin" userId="5b54ce5a-dc89-476f-af33-5abd75d5b1e8" providerId="ADAL" clId="{265A6489-94A2-4E64-A25F-E64F69B0C2C1}" dt="2024-03-06T13:51:17.936" v="5100" actId="20577"/>
        <pc:sldMkLst>
          <pc:docMk/>
          <pc:sldMk cId="1339647628" sldId="586"/>
        </pc:sldMkLst>
      </pc:sldChg>
      <pc:sldChg chg="del">
        <pc:chgData name="Bullinger, Marvin" userId="5b54ce5a-dc89-476f-af33-5abd75d5b1e8" providerId="ADAL" clId="{265A6489-94A2-4E64-A25F-E64F69B0C2C1}" dt="2024-03-05T20:07:14.023" v="102" actId="2696"/>
        <pc:sldMkLst>
          <pc:docMk/>
          <pc:sldMk cId="2468756552" sldId="590"/>
        </pc:sldMkLst>
      </pc:sldChg>
      <pc:sldChg chg="addSp delSp modSp del mod">
        <pc:chgData name="Bullinger, Marvin" userId="5b54ce5a-dc89-476f-af33-5abd75d5b1e8" providerId="ADAL" clId="{265A6489-94A2-4E64-A25F-E64F69B0C2C1}" dt="2024-03-05T22:13:17.824" v="4237" actId="47"/>
        <pc:sldMkLst>
          <pc:docMk/>
          <pc:sldMk cId="3574513803" sldId="591"/>
        </pc:sldMkLst>
      </pc:sldChg>
      <pc:sldChg chg="addSp delSp modSp mod">
        <pc:chgData name="Bullinger, Marvin" userId="5b54ce5a-dc89-476f-af33-5abd75d5b1e8" providerId="ADAL" clId="{265A6489-94A2-4E64-A25F-E64F69B0C2C1}" dt="2024-03-06T14:03:18.102" v="5404" actId="20577"/>
        <pc:sldMkLst>
          <pc:docMk/>
          <pc:sldMk cId="4264639648" sldId="595"/>
        </pc:sldMkLst>
      </pc:sldChg>
      <pc:sldChg chg="del">
        <pc:chgData name="Bullinger, Marvin" userId="5b54ce5a-dc89-476f-af33-5abd75d5b1e8" providerId="ADAL" clId="{265A6489-94A2-4E64-A25F-E64F69B0C2C1}" dt="2024-03-05T20:19:13.890" v="1209" actId="47"/>
        <pc:sldMkLst>
          <pc:docMk/>
          <pc:sldMk cId="2284291004" sldId="596"/>
        </pc:sldMkLst>
      </pc:sldChg>
      <pc:sldChg chg="del">
        <pc:chgData name="Bullinger, Marvin" userId="5b54ce5a-dc89-476f-af33-5abd75d5b1e8" providerId="ADAL" clId="{265A6489-94A2-4E64-A25F-E64F69B0C2C1}" dt="2024-03-05T20:19:12.921" v="1208" actId="47"/>
        <pc:sldMkLst>
          <pc:docMk/>
          <pc:sldMk cId="473444533" sldId="598"/>
        </pc:sldMkLst>
      </pc:sldChg>
      <pc:sldChg chg="del">
        <pc:chgData name="Bullinger, Marvin" userId="5b54ce5a-dc89-476f-af33-5abd75d5b1e8" providerId="ADAL" clId="{265A6489-94A2-4E64-A25F-E64F69B0C2C1}" dt="2024-03-05T22:13:19.988" v="4238" actId="47"/>
        <pc:sldMkLst>
          <pc:docMk/>
          <pc:sldMk cId="3696754893" sldId="599"/>
        </pc:sldMkLst>
      </pc:sldChg>
      <pc:sldChg chg="addSp delSp modSp mod modAnim">
        <pc:chgData name="Bullinger, Marvin" userId="5b54ce5a-dc89-476f-af33-5abd75d5b1e8" providerId="ADAL" clId="{265A6489-94A2-4E64-A25F-E64F69B0C2C1}" dt="2024-03-08T14:14:48.234" v="5459"/>
        <pc:sldMkLst>
          <pc:docMk/>
          <pc:sldMk cId="1733906716" sldId="600"/>
        </pc:sldMkLst>
      </pc:sldChg>
      <pc:sldChg chg="delSp modSp del mod">
        <pc:chgData name="Bullinger, Marvin" userId="5b54ce5a-dc89-476f-af33-5abd75d5b1e8" providerId="ADAL" clId="{265A6489-94A2-4E64-A25F-E64F69B0C2C1}" dt="2024-03-05T20:07:14.835" v="589" actId="2696"/>
        <pc:sldMkLst>
          <pc:docMk/>
          <pc:sldMk cId="3719439900" sldId="601"/>
        </pc:sldMkLst>
      </pc:sldChg>
      <pc:sldChg chg="delSp modSp del mod">
        <pc:chgData name="Bullinger, Marvin" userId="5b54ce5a-dc89-476f-af33-5abd75d5b1e8" providerId="ADAL" clId="{265A6489-94A2-4E64-A25F-E64F69B0C2C1}" dt="2024-03-05T20:17:18.382" v="1198" actId="2696"/>
        <pc:sldMkLst>
          <pc:docMk/>
          <pc:sldMk cId="4165652465" sldId="601"/>
        </pc:sldMkLst>
      </pc:sldChg>
      <pc:sldChg chg="del">
        <pc:chgData name="Bullinger, Marvin" userId="5b54ce5a-dc89-476f-af33-5abd75d5b1e8" providerId="ADAL" clId="{265A6489-94A2-4E64-A25F-E64F69B0C2C1}" dt="2024-03-05T20:07:14.832" v="586" actId="2696"/>
        <pc:sldMkLst>
          <pc:docMk/>
          <pc:sldMk cId="127353636" sldId="602"/>
        </pc:sldMkLst>
      </pc:sldChg>
      <pc:sldChg chg="del">
        <pc:chgData name="Bullinger, Marvin" userId="5b54ce5a-dc89-476f-af33-5abd75d5b1e8" providerId="ADAL" clId="{265A6489-94A2-4E64-A25F-E64F69B0C2C1}" dt="2024-03-05T20:17:18.378" v="1195" actId="2696"/>
        <pc:sldMkLst>
          <pc:docMk/>
          <pc:sldMk cId="524634828" sldId="602"/>
        </pc:sldMkLst>
      </pc:sldChg>
      <pc:sldChg chg="del">
        <pc:chgData name="Bullinger, Marvin" userId="5b54ce5a-dc89-476f-af33-5abd75d5b1e8" providerId="ADAL" clId="{265A6489-94A2-4E64-A25F-E64F69B0C2C1}" dt="2024-03-05T20:17:18.375" v="1194" actId="2696"/>
        <pc:sldMkLst>
          <pc:docMk/>
          <pc:sldMk cId="2760633013" sldId="603"/>
        </pc:sldMkLst>
      </pc:sldChg>
      <pc:sldChg chg="del">
        <pc:chgData name="Bullinger, Marvin" userId="5b54ce5a-dc89-476f-af33-5abd75d5b1e8" providerId="ADAL" clId="{265A6489-94A2-4E64-A25F-E64F69B0C2C1}" dt="2024-03-05T20:07:14.830" v="585" actId="2696"/>
        <pc:sldMkLst>
          <pc:docMk/>
          <pc:sldMk cId="3152295414" sldId="603"/>
        </pc:sldMkLst>
      </pc:sldChg>
      <pc:sldChg chg="addSp delSp modSp mod replTag">
        <pc:chgData name="Bullinger, Marvin" userId="5b54ce5a-dc89-476f-af33-5abd75d5b1e8" providerId="ADAL" clId="{265A6489-94A2-4E64-A25F-E64F69B0C2C1}" dt="2024-03-06T13:53:13.675" v="5133" actId="20577"/>
        <pc:sldMkLst>
          <pc:docMk/>
          <pc:sldMk cId="1803820397" sldId="604"/>
        </pc:sldMkLst>
      </pc:sldChg>
      <pc:sldChg chg="delSp modSp new del mod ord">
        <pc:chgData name="Bullinger, Marvin" userId="5b54ce5a-dc89-476f-af33-5abd75d5b1e8" providerId="ADAL" clId="{265A6489-94A2-4E64-A25F-E64F69B0C2C1}" dt="2024-03-05T21:24:45.037" v="3484" actId="47"/>
        <pc:sldMkLst>
          <pc:docMk/>
          <pc:sldMk cId="2893359372" sldId="605"/>
        </pc:sldMkLst>
      </pc:sldChg>
      <pc:sldChg chg="addSp delSp modSp new mod modAnim">
        <pc:chgData name="Bullinger, Marvin" userId="5b54ce5a-dc89-476f-af33-5abd75d5b1e8" providerId="ADAL" clId="{265A6489-94A2-4E64-A25F-E64F69B0C2C1}" dt="2024-03-08T14:55:43.276" v="5484" actId="207"/>
        <pc:sldMkLst>
          <pc:docMk/>
          <pc:sldMk cId="410633608" sldId="606"/>
        </pc:sldMkLst>
      </pc:sldChg>
      <pc:sldChg chg="add del">
        <pc:chgData name="Bullinger, Marvin" userId="5b54ce5a-dc89-476f-af33-5abd75d5b1e8" providerId="ADAL" clId="{265A6489-94A2-4E64-A25F-E64F69B0C2C1}" dt="2024-03-05T21:06:54.651" v="2530"/>
        <pc:sldMkLst>
          <pc:docMk/>
          <pc:sldMk cId="4132025375" sldId="606"/>
        </pc:sldMkLst>
      </pc:sldChg>
      <pc:sldChg chg="delSp modSp del mod">
        <pc:chgData name="Bullinger, Marvin" userId="5b54ce5a-dc89-476f-af33-5abd75d5b1e8" providerId="ADAL" clId="{265A6489-94A2-4E64-A25F-E64F69B0C2C1}" dt="2024-03-05T22:19:11.376" v="5011" actId="2696"/>
        <pc:sldMkLst>
          <pc:docMk/>
          <pc:sldMk cId="455207031" sldId="607"/>
        </pc:sldMkLst>
      </pc:sldChg>
      <pc:sldChg chg="new del">
        <pc:chgData name="Bullinger, Marvin" userId="5b54ce5a-dc89-476f-af33-5abd75d5b1e8" providerId="ADAL" clId="{265A6489-94A2-4E64-A25F-E64F69B0C2C1}" dt="2024-03-05T21:20:29.342" v="3174" actId="47"/>
        <pc:sldMkLst>
          <pc:docMk/>
          <pc:sldMk cId="2359893432" sldId="607"/>
        </pc:sldMkLst>
      </pc:sldChg>
      <pc:sldChg chg="addSp delSp modSp add del mod">
        <pc:chgData name="Bullinger, Marvin" userId="5b54ce5a-dc89-476f-af33-5abd75d5b1e8" providerId="ADAL" clId="{265A6489-94A2-4E64-A25F-E64F69B0C2C1}" dt="2024-03-05T21:25:12.525" v="3488" actId="47"/>
        <pc:sldMkLst>
          <pc:docMk/>
          <pc:sldMk cId="2455067889" sldId="607"/>
        </pc:sldMkLst>
      </pc:sldChg>
      <pc:sldChg chg="del">
        <pc:chgData name="Bullinger, Marvin" userId="5b54ce5a-dc89-476f-af33-5abd75d5b1e8" providerId="ADAL" clId="{265A6489-94A2-4E64-A25F-E64F69B0C2C1}" dt="2024-03-05T22:19:11.371" v="5008" actId="2696"/>
        <pc:sldMkLst>
          <pc:docMk/>
          <pc:sldMk cId="4228673322" sldId="608"/>
        </pc:sldMkLst>
      </pc:sldChg>
      <pc:sldChg chg="del">
        <pc:chgData name="Bullinger, Marvin" userId="5b54ce5a-dc89-476f-af33-5abd75d5b1e8" providerId="ADAL" clId="{265A6489-94A2-4E64-A25F-E64F69B0C2C1}" dt="2024-03-05T22:19:11.366" v="5007" actId="2696"/>
        <pc:sldMkLst>
          <pc:docMk/>
          <pc:sldMk cId="165532199" sldId="609"/>
        </pc:sldMkLst>
      </pc:sldChg>
      <pc:sldChg chg="delSp modSp mod replTag">
        <pc:chgData name="Bullinger, Marvin" userId="5b54ce5a-dc89-476f-af33-5abd75d5b1e8" providerId="ADAL" clId="{265A6489-94A2-4E64-A25F-E64F69B0C2C1}" dt="2024-03-06T13:53:46.785" v="5137" actId="20577"/>
        <pc:sldMkLst>
          <pc:docMk/>
          <pc:sldMk cId="1824871312" sldId="610"/>
        </pc:sldMkLst>
      </pc:sldChg>
      <pc:sldChg chg="delSp modSp del mod replTag">
        <pc:chgData name="Bullinger, Marvin" userId="5b54ce5a-dc89-476f-af33-5abd75d5b1e8" providerId="ADAL" clId="{265A6489-94A2-4E64-A25F-E64F69B0C2C1}" dt="2024-03-05T22:35:46.285" v="5091" actId="47"/>
        <pc:sldMkLst>
          <pc:docMk/>
          <pc:sldMk cId="732378963" sldId="611"/>
        </pc:sldMkLst>
      </pc:sldChg>
      <pc:sldMasterChg chg="modSldLayout">
        <pc:chgData name="Bullinger, Marvin" userId="5b54ce5a-dc89-476f-af33-5abd75d5b1e8" providerId="ADAL" clId="{265A6489-94A2-4E64-A25F-E64F69B0C2C1}" dt="2024-03-06T14:07:42.415" v="5458" actId="1076"/>
        <pc:sldMasterMkLst>
          <pc:docMk/>
          <pc:sldMasterMk cId="2846167297" sldId="2147483677"/>
        </pc:sldMasterMkLst>
        <pc:sldLayoutChg chg="addSp delSp modSp mod">
          <pc:chgData name="Bullinger, Marvin" userId="5b54ce5a-dc89-476f-af33-5abd75d5b1e8" providerId="ADAL" clId="{265A6489-94A2-4E64-A25F-E64F69B0C2C1}" dt="2024-03-06T14:07:42.415" v="5458" actId="1076"/>
          <pc:sldLayoutMkLst>
            <pc:docMk/>
            <pc:sldMasterMk cId="2846167297" sldId="2147483677"/>
            <pc:sldLayoutMk cId="816259686" sldId="2147483701"/>
          </pc:sldLayoutMkLst>
        </pc:sldLayoutChg>
      </pc:sldMasterChg>
    </pc:docChg>
  </pc:docChgLst>
  <pc:docChgLst>
    <pc:chgData name="Marvin Mario Bullinger" userId="S::mmbullin@uwaterloo.ca::3bbe2cfe-6e8b-4ac1-8799-4ce6c696cdc9" providerId="AD" clId="Web-{22ACEF56-E6AF-CC9A-E72F-DFA51DA999A2}"/>
    <pc:docChg chg="modSld sldOrd">
      <pc:chgData name="Marvin Mario Bullinger" userId="S::mmbullin@uwaterloo.ca::3bbe2cfe-6e8b-4ac1-8799-4ce6c696cdc9" providerId="AD" clId="Web-{22ACEF56-E6AF-CC9A-E72F-DFA51DA999A2}" dt="2024-10-09T00:01:37.731" v="9"/>
      <pc:docMkLst>
        <pc:docMk/>
      </pc:docMkLst>
      <pc:sldChg chg="ord">
        <pc:chgData name="Marvin Mario Bullinger" userId="S::mmbullin@uwaterloo.ca::3bbe2cfe-6e8b-4ac1-8799-4ce6c696cdc9" providerId="AD" clId="Web-{22ACEF56-E6AF-CC9A-E72F-DFA51DA999A2}" dt="2024-10-09T00:01:37.731" v="9"/>
        <pc:sldMkLst>
          <pc:docMk/>
          <pc:sldMk cId="2135841358" sldId="660"/>
        </pc:sldMkLst>
      </pc:sldChg>
      <pc:sldChg chg="modSp">
        <pc:chgData name="Marvin Mario Bullinger" userId="S::mmbullin@uwaterloo.ca::3bbe2cfe-6e8b-4ac1-8799-4ce6c696cdc9" providerId="AD" clId="Web-{22ACEF56-E6AF-CC9A-E72F-DFA51DA999A2}" dt="2024-10-08T23:58:47.855" v="8" actId="20577"/>
        <pc:sldMkLst>
          <pc:docMk/>
          <pc:sldMk cId="223390664" sldId="661"/>
        </pc:sldMkLst>
      </pc:sldChg>
      <pc:sldChg chg="modSp">
        <pc:chgData name="Marvin Mario Bullinger" userId="S::mmbullin@uwaterloo.ca::3bbe2cfe-6e8b-4ac1-8799-4ce6c696cdc9" providerId="AD" clId="Web-{22ACEF56-E6AF-CC9A-E72F-DFA51DA999A2}" dt="2024-10-08T23:58:00.870" v="0" actId="14100"/>
        <pc:sldMkLst>
          <pc:docMk/>
          <pc:sldMk cId="3071594886" sldId="663"/>
        </pc:sldMkLst>
      </pc:sldChg>
    </pc:docChg>
  </pc:docChgLst>
  <pc:docChgLst>
    <pc:chgData name="Leo Xing" userId="S::l7xing@uwaterloo.ca::092ea61f-c2f3-4c9c-8a83-cb04ba707769" providerId="AD" clId="Web-{B3DEED4F-58E3-1596-C643-30B3A6343A7E}"/>
    <pc:docChg chg="modSld sldOrd">
      <pc:chgData name="Leo Xing" userId="S::l7xing@uwaterloo.ca::092ea61f-c2f3-4c9c-8a83-cb04ba707769" providerId="AD" clId="Web-{B3DEED4F-58E3-1596-C643-30B3A6343A7E}" dt="2024-11-26T16:57:14.861" v="44" actId="1076"/>
      <pc:docMkLst>
        <pc:docMk/>
      </pc:docMkLst>
      <pc:sldChg chg="addSp modSp">
        <pc:chgData name="Leo Xing" userId="S::l7xing@uwaterloo.ca::092ea61f-c2f3-4c9c-8a83-cb04ba707769" providerId="AD" clId="Web-{B3DEED4F-58E3-1596-C643-30B3A6343A7E}" dt="2024-11-26T16:29:23.657" v="11" actId="1076"/>
        <pc:sldMkLst>
          <pc:docMk/>
          <pc:sldMk cId="3402755058" sldId="662"/>
        </pc:sldMkLst>
        <pc:picChg chg="add mod">
          <ac:chgData name="Leo Xing" userId="S::l7xing@uwaterloo.ca::092ea61f-c2f3-4c9c-8a83-cb04ba707769" providerId="AD" clId="Web-{B3DEED4F-58E3-1596-C643-30B3A6343A7E}" dt="2024-11-26T16:29:23.657" v="11" actId="1076"/>
          <ac:picMkLst>
            <pc:docMk/>
            <pc:sldMk cId="3402755058" sldId="662"/>
            <ac:picMk id="3" creationId="{8BB254EE-82BB-2AE2-BF34-4CDC27D179AC}"/>
          </ac:picMkLst>
        </pc:picChg>
      </pc:sldChg>
      <pc:sldChg chg="addSp modSp">
        <pc:chgData name="Leo Xing" userId="S::l7xing@uwaterloo.ca::092ea61f-c2f3-4c9c-8a83-cb04ba707769" providerId="AD" clId="Web-{B3DEED4F-58E3-1596-C643-30B3A6343A7E}" dt="2024-11-26T16:56:48.735" v="36" actId="1076"/>
        <pc:sldMkLst>
          <pc:docMk/>
          <pc:sldMk cId="1970710320" sldId="674"/>
        </pc:sldMkLst>
        <pc:spChg chg="add mod">
          <ac:chgData name="Leo Xing" userId="S::l7xing@uwaterloo.ca::092ea61f-c2f3-4c9c-8a83-cb04ba707769" providerId="AD" clId="Web-{B3DEED4F-58E3-1596-C643-30B3A6343A7E}" dt="2024-11-26T16:45:04.322" v="19" actId="1076"/>
          <ac:spMkLst>
            <pc:docMk/>
            <pc:sldMk cId="1970710320" sldId="674"/>
            <ac:spMk id="2" creationId="{FEBC1590-EB88-0F0B-60C5-2BE432126149}"/>
          </ac:spMkLst>
        </pc:spChg>
        <pc:spChg chg="add mod">
          <ac:chgData name="Leo Xing" userId="S::l7xing@uwaterloo.ca::092ea61f-c2f3-4c9c-8a83-cb04ba707769" providerId="AD" clId="Web-{B3DEED4F-58E3-1596-C643-30B3A6343A7E}" dt="2024-11-26T16:56:48.735" v="36" actId="1076"/>
          <ac:spMkLst>
            <pc:docMk/>
            <pc:sldMk cId="1970710320" sldId="674"/>
            <ac:spMk id="3" creationId="{9A5569F1-5A79-9661-0AA3-63F68DC9D2CE}"/>
          </ac:spMkLst>
        </pc:spChg>
        <pc:spChg chg="mod">
          <ac:chgData name="Leo Xing" userId="S::l7xing@uwaterloo.ca::092ea61f-c2f3-4c9c-8a83-cb04ba707769" providerId="AD" clId="Web-{B3DEED4F-58E3-1596-C643-30B3A6343A7E}" dt="2024-11-26T16:45:07.166" v="20" actId="1076"/>
          <ac:spMkLst>
            <pc:docMk/>
            <pc:sldMk cId="1970710320" sldId="674"/>
            <ac:spMk id="11" creationId="{F53FF460-3F71-9C9C-C648-56A52E1CF55F}"/>
          </ac:spMkLst>
        </pc:spChg>
        <pc:spChg chg="mod">
          <ac:chgData name="Leo Xing" userId="S::l7xing@uwaterloo.ca::092ea61f-c2f3-4c9c-8a83-cb04ba707769" providerId="AD" clId="Web-{B3DEED4F-58E3-1596-C643-30B3A6343A7E}" dt="2024-11-26T16:56:39.595" v="31" actId="1076"/>
          <ac:spMkLst>
            <pc:docMk/>
            <pc:sldMk cId="1970710320" sldId="674"/>
            <ac:spMk id="12" creationId="{15EC5375-91D9-C9A3-7A8E-5DFA5FC9377E}"/>
          </ac:spMkLst>
        </pc:spChg>
        <pc:picChg chg="mod">
          <ac:chgData name="Leo Xing" userId="S::l7xing@uwaterloo.ca::092ea61f-c2f3-4c9c-8a83-cb04ba707769" providerId="AD" clId="Web-{B3DEED4F-58E3-1596-C643-30B3A6343A7E}" dt="2024-11-26T16:56:41.532" v="32" actId="1076"/>
          <ac:picMkLst>
            <pc:docMk/>
            <pc:sldMk cId="1970710320" sldId="674"/>
            <ac:picMk id="10" creationId="{32175C7A-F91D-8FA0-5BEF-816E246CDCDD}"/>
          </ac:picMkLst>
        </pc:picChg>
      </pc:sldChg>
      <pc:sldChg chg="delSp modSp ord">
        <pc:chgData name="Leo Xing" userId="S::l7xing@uwaterloo.ca::092ea61f-c2f3-4c9c-8a83-cb04ba707769" providerId="AD" clId="Web-{B3DEED4F-58E3-1596-C643-30B3A6343A7E}" dt="2024-11-26T16:57:14.861" v="44" actId="1076"/>
        <pc:sldMkLst>
          <pc:docMk/>
          <pc:sldMk cId="1748042046" sldId="675"/>
        </pc:sldMkLst>
        <pc:spChg chg="mod">
          <ac:chgData name="Leo Xing" userId="S::l7xing@uwaterloo.ca::092ea61f-c2f3-4c9c-8a83-cb04ba707769" providerId="AD" clId="Web-{B3DEED4F-58E3-1596-C643-30B3A6343A7E}" dt="2024-11-26T16:57:08.111" v="41" actId="1076"/>
          <ac:spMkLst>
            <pc:docMk/>
            <pc:sldMk cId="1748042046" sldId="675"/>
            <ac:spMk id="16" creationId="{FAD0AD17-02C3-3592-9CD1-FB12A770CF50}"/>
          </ac:spMkLst>
        </pc:spChg>
        <pc:spChg chg="mod">
          <ac:chgData name="Leo Xing" userId="S::l7xing@uwaterloo.ca::092ea61f-c2f3-4c9c-8a83-cb04ba707769" providerId="AD" clId="Web-{B3DEED4F-58E3-1596-C643-30B3A6343A7E}" dt="2024-11-26T16:57:02.095" v="39" actId="1076"/>
          <ac:spMkLst>
            <pc:docMk/>
            <pc:sldMk cId="1748042046" sldId="675"/>
            <ac:spMk id="17" creationId="{EA38E477-58AE-CB3A-A052-30CE9EFB3132}"/>
          </ac:spMkLst>
        </pc:spChg>
        <pc:spChg chg="mod">
          <ac:chgData name="Leo Xing" userId="S::l7xing@uwaterloo.ca::092ea61f-c2f3-4c9c-8a83-cb04ba707769" providerId="AD" clId="Web-{B3DEED4F-58E3-1596-C643-30B3A6343A7E}" dt="2024-11-26T16:57:14.861" v="44" actId="1076"/>
          <ac:spMkLst>
            <pc:docMk/>
            <pc:sldMk cId="1748042046" sldId="675"/>
            <ac:spMk id="18" creationId="{40ADD9EC-0029-48A6-255C-5C6A3D1DE8AB}"/>
          </ac:spMkLst>
        </pc:spChg>
        <pc:spChg chg="del">
          <ac:chgData name="Leo Xing" userId="S::l7xing@uwaterloo.ca::092ea61f-c2f3-4c9c-8a83-cb04ba707769" providerId="AD" clId="Web-{B3DEED4F-58E3-1596-C643-30B3A6343A7E}" dt="2024-11-26T16:47:02.073" v="22"/>
          <ac:spMkLst>
            <pc:docMk/>
            <pc:sldMk cId="1748042046" sldId="675"/>
            <ac:spMk id="20" creationId="{2BB52802-E1A7-5C4C-B2F8-1F3D1593D932}"/>
          </ac:spMkLst>
        </pc:spChg>
        <pc:spChg chg="del mod">
          <ac:chgData name="Leo Xing" userId="S::l7xing@uwaterloo.ca::092ea61f-c2f3-4c9c-8a83-cb04ba707769" providerId="AD" clId="Web-{B3DEED4F-58E3-1596-C643-30B3A6343A7E}" dt="2024-11-26T16:56:32.391" v="28"/>
          <ac:spMkLst>
            <pc:docMk/>
            <pc:sldMk cId="1748042046" sldId="675"/>
            <ac:spMk id="21" creationId="{9A5569F1-5A79-9661-0AA3-63F68DC9D2CE}"/>
          </ac:spMkLst>
        </pc:spChg>
        <pc:spChg chg="del">
          <ac:chgData name="Leo Xing" userId="S::l7xing@uwaterloo.ca::092ea61f-c2f3-4c9c-8a83-cb04ba707769" providerId="AD" clId="Web-{B3DEED4F-58E3-1596-C643-30B3A6343A7E}" dt="2024-11-26T16:44:42.697" v="13"/>
          <ac:spMkLst>
            <pc:docMk/>
            <pc:sldMk cId="1748042046" sldId="675"/>
            <ac:spMk id="22" creationId="{FEBC1590-EB88-0F0B-60C5-2BE432126149}"/>
          </ac:spMkLst>
        </pc:spChg>
        <pc:picChg chg="mod">
          <ac:chgData name="Leo Xing" userId="S::l7xing@uwaterloo.ca::092ea61f-c2f3-4c9c-8a83-cb04ba707769" providerId="AD" clId="Web-{B3DEED4F-58E3-1596-C643-30B3A6343A7E}" dt="2024-11-26T16:57:13.345" v="43" actId="14100"/>
          <ac:picMkLst>
            <pc:docMk/>
            <pc:sldMk cId="1748042046" sldId="675"/>
            <ac:picMk id="15" creationId="{7AFF2018-8BEE-F8AF-EFF6-B5B5A512C965}"/>
          </ac:picMkLst>
        </pc:picChg>
        <pc:picChg chg="del">
          <ac:chgData name="Leo Xing" userId="S::l7xing@uwaterloo.ca::092ea61f-c2f3-4c9c-8a83-cb04ba707769" providerId="AD" clId="Web-{B3DEED4F-58E3-1596-C643-30B3A6343A7E}" dt="2024-11-26T16:47:02.073" v="23"/>
          <ac:picMkLst>
            <pc:docMk/>
            <pc:sldMk cId="1748042046" sldId="675"/>
            <ac:picMk id="19" creationId="{0C09336E-59B1-32D9-C19D-803A60A8CD36}"/>
          </ac:picMkLst>
        </pc:picChg>
      </pc:sldChg>
      <pc:sldChg chg="modSp">
        <pc:chgData name="Leo Xing" userId="S::l7xing@uwaterloo.ca::092ea61f-c2f3-4c9c-8a83-cb04ba707769" providerId="AD" clId="Web-{B3DEED4F-58E3-1596-C643-30B3A6343A7E}" dt="2024-11-26T16:56:26.048" v="27" actId="1076"/>
        <pc:sldMkLst>
          <pc:docMk/>
          <pc:sldMk cId="3038747132" sldId="676"/>
        </pc:sldMkLst>
        <pc:spChg chg="mod">
          <ac:chgData name="Leo Xing" userId="S::l7xing@uwaterloo.ca::092ea61f-c2f3-4c9c-8a83-cb04ba707769" providerId="AD" clId="Web-{B3DEED4F-58E3-1596-C643-30B3A6343A7E}" dt="2024-11-26T16:56:26.048" v="27" actId="1076"/>
          <ac:spMkLst>
            <pc:docMk/>
            <pc:sldMk cId="3038747132" sldId="676"/>
            <ac:spMk id="12" creationId="{F8BFDC0F-DB85-FEE9-BA5C-079126AA1A01}"/>
          </ac:spMkLst>
        </pc:spChg>
        <pc:picChg chg="mod">
          <ac:chgData name="Leo Xing" userId="S::l7xing@uwaterloo.ca::092ea61f-c2f3-4c9c-8a83-cb04ba707769" providerId="AD" clId="Web-{B3DEED4F-58E3-1596-C643-30B3A6343A7E}" dt="2024-11-26T16:56:24.001" v="26" actId="1076"/>
          <ac:picMkLst>
            <pc:docMk/>
            <pc:sldMk cId="3038747132" sldId="676"/>
            <ac:picMk id="10" creationId="{546DFA70-DDDC-BE28-426F-1131462D42B3}"/>
          </ac:picMkLst>
        </pc:picChg>
      </pc:sldChg>
    </pc:docChg>
  </pc:docChgLst>
  <pc:docChgLst>
    <pc:chgData name="Aidan Landry" userId="S::ar3landr@uwaterloo.ca::3189a9fb-e89b-4b01-b295-b304ff3fadbb" providerId="AD" clId="Web-{55BB2BCE-145E-F75E-6D91-0CFE124A5039}"/>
    <pc:docChg chg="modSld">
      <pc:chgData name="Aidan Landry" userId="S::ar3landr@uwaterloo.ca::3189a9fb-e89b-4b01-b295-b304ff3fadbb" providerId="AD" clId="Web-{55BB2BCE-145E-F75E-6D91-0CFE124A5039}" dt="2024-10-05T14:14:58.105" v="4" actId="1076"/>
      <pc:docMkLst>
        <pc:docMk/>
      </pc:docMkLst>
      <pc:sldChg chg="addSp delSp modSp">
        <pc:chgData name="Aidan Landry" userId="S::ar3landr@uwaterloo.ca::3189a9fb-e89b-4b01-b295-b304ff3fadbb" providerId="AD" clId="Web-{55BB2BCE-145E-F75E-6D91-0CFE124A5039}" dt="2024-10-05T14:14:58.105" v="4" actId="1076"/>
        <pc:sldMkLst>
          <pc:docMk/>
          <pc:sldMk cId="1533146030" sldId="651"/>
        </pc:sldMkLst>
        <pc:spChg chg="mod">
          <ac:chgData name="Aidan Landry" userId="S::ar3landr@uwaterloo.ca::3189a9fb-e89b-4b01-b295-b304ff3fadbb" providerId="AD" clId="Web-{55BB2BCE-145E-F75E-6D91-0CFE124A5039}" dt="2024-10-05T14:14:03.902" v="1" actId="1076"/>
          <ac:spMkLst>
            <pc:docMk/>
            <pc:sldMk cId="1533146030" sldId="651"/>
            <ac:spMk id="44" creationId="{9A0D7DE8-29FE-08C8-D01C-97334E84F4D3}"/>
          </ac:spMkLst>
        </pc:spChg>
        <pc:picChg chg="add mod">
          <ac:chgData name="Aidan Landry" userId="S::ar3landr@uwaterloo.ca::3189a9fb-e89b-4b01-b295-b304ff3fadbb" providerId="AD" clId="Web-{55BB2BCE-145E-F75E-6D91-0CFE124A5039}" dt="2024-10-05T14:14:58.105" v="4" actId="1076"/>
          <ac:picMkLst>
            <pc:docMk/>
            <pc:sldMk cId="1533146030" sldId="651"/>
            <ac:picMk id="2" creationId="{D3EFF9B6-4275-4DF4-8FB6-1545493D3E43}"/>
          </ac:picMkLst>
        </pc:picChg>
      </pc:sldChg>
    </pc:docChg>
  </pc:docChgLst>
  <pc:docChgLst>
    <pc:chgData name="Leo Xing" userId="S::l7xing@uwaterloo.ca::092ea61f-c2f3-4c9c-8a83-cb04ba707769" providerId="AD" clId="Web-{EE1CB241-8CD8-B50B-29D6-99FA4C7C9CD8}"/>
    <pc:docChg chg="modSld">
      <pc:chgData name="Leo Xing" userId="S::l7xing@uwaterloo.ca::092ea61f-c2f3-4c9c-8a83-cb04ba707769" providerId="AD" clId="Web-{EE1CB241-8CD8-B50B-29D6-99FA4C7C9CD8}" dt="2024-10-07T19:04:39.144" v="16" actId="1076"/>
      <pc:docMkLst>
        <pc:docMk/>
      </pc:docMkLst>
      <pc:sldChg chg="addSp delSp modSp">
        <pc:chgData name="Leo Xing" userId="S::l7xing@uwaterloo.ca::092ea61f-c2f3-4c9c-8a83-cb04ba707769" providerId="AD" clId="Web-{EE1CB241-8CD8-B50B-29D6-99FA4C7C9CD8}" dt="2024-10-07T17:36:48.802" v="6" actId="1076"/>
        <pc:sldMkLst>
          <pc:docMk/>
          <pc:sldMk cId="1787319496" sldId="652"/>
        </pc:sldMkLst>
      </pc:sldChg>
      <pc:sldChg chg="addSp delSp modSp">
        <pc:chgData name="Leo Xing" userId="S::l7xing@uwaterloo.ca::092ea61f-c2f3-4c9c-8a83-cb04ba707769" providerId="AD" clId="Web-{EE1CB241-8CD8-B50B-29D6-99FA4C7C9CD8}" dt="2024-10-07T19:04:39.144" v="16" actId="1076"/>
        <pc:sldMkLst>
          <pc:docMk/>
          <pc:sldMk cId="3071594886" sldId="663"/>
        </pc:sldMkLst>
      </pc:sldChg>
    </pc:docChg>
  </pc:docChgLst>
  <pc:docChgLst>
    <pc:chgData name="Marvin Mario Bullinger" userId="S::mmbullin@uwaterloo.ca::3bbe2cfe-6e8b-4ac1-8799-4ce6c696cdc9" providerId="AD" clId="Web-{682DE27A-35CF-7296-D9AD-D2A950032907}"/>
    <pc:docChg chg="modSld sldOrd">
      <pc:chgData name="Marvin Mario Bullinger" userId="S::mmbullin@uwaterloo.ca::3bbe2cfe-6e8b-4ac1-8799-4ce6c696cdc9" providerId="AD" clId="Web-{682DE27A-35CF-7296-D9AD-D2A950032907}" dt="2024-10-04T01:02:57.388" v="7"/>
      <pc:docMkLst>
        <pc:docMk/>
      </pc:docMkLst>
      <pc:sldChg chg="ord">
        <pc:chgData name="Marvin Mario Bullinger" userId="S::mmbullin@uwaterloo.ca::3bbe2cfe-6e8b-4ac1-8799-4ce6c696cdc9" providerId="AD" clId="Web-{682DE27A-35CF-7296-D9AD-D2A950032907}" dt="2024-10-04T00:58:10.822" v="0"/>
        <pc:sldMkLst>
          <pc:docMk/>
          <pc:sldMk cId="2135841358" sldId="660"/>
        </pc:sldMkLst>
      </pc:sldChg>
    </pc:docChg>
  </pc:docChgLst>
  <pc:docChgLst>
    <pc:chgData name="Leo Xing" userId="S::l7xing@uwaterloo.ca::092ea61f-c2f3-4c9c-8a83-cb04ba707769" providerId="AD" clId="Web-{26EB2982-97F5-FA7D-DA78-165BC02FA146}"/>
    <pc:docChg chg="modSld">
      <pc:chgData name="Leo Xing" userId="S::l7xing@uwaterloo.ca::092ea61f-c2f3-4c9c-8a83-cb04ba707769" providerId="AD" clId="Web-{26EB2982-97F5-FA7D-DA78-165BC02FA146}" dt="2024-11-25T17:05:21.373" v="125" actId="20577"/>
      <pc:docMkLst>
        <pc:docMk/>
      </pc:docMkLst>
      <pc:sldChg chg="modSp">
        <pc:chgData name="Leo Xing" userId="S::l7xing@uwaterloo.ca::092ea61f-c2f3-4c9c-8a83-cb04ba707769" providerId="AD" clId="Web-{26EB2982-97F5-FA7D-DA78-165BC02FA146}" dt="2024-11-25T17:05:21.373" v="125" actId="20577"/>
        <pc:sldMkLst>
          <pc:docMk/>
          <pc:sldMk cId="1819382037" sldId="659"/>
        </pc:sldMkLst>
        <pc:spChg chg="mod">
          <ac:chgData name="Leo Xing" userId="S::l7xing@uwaterloo.ca::092ea61f-c2f3-4c9c-8a83-cb04ba707769" providerId="AD" clId="Web-{26EB2982-97F5-FA7D-DA78-165BC02FA146}" dt="2024-11-25T17:05:21.373" v="125" actId="20577"/>
          <ac:spMkLst>
            <pc:docMk/>
            <pc:sldMk cId="1819382037" sldId="659"/>
            <ac:spMk id="3" creationId="{5FFDAB8C-6CB3-3BEE-3ED1-AF1B9EA7FA33}"/>
          </ac:spMkLst>
        </pc:spChg>
      </pc:sldChg>
      <pc:sldChg chg="modSp">
        <pc:chgData name="Leo Xing" userId="S::l7xing@uwaterloo.ca::092ea61f-c2f3-4c9c-8a83-cb04ba707769" providerId="AD" clId="Web-{26EB2982-97F5-FA7D-DA78-165BC02FA146}" dt="2024-11-25T16:54:39.351" v="0" actId="20577"/>
        <pc:sldMkLst>
          <pc:docMk/>
          <pc:sldMk cId="3071594886" sldId="663"/>
        </pc:sldMkLst>
      </pc:sldChg>
    </pc:docChg>
  </pc:docChgLst>
  <pc:docChgLst>
    <pc:chgData name="Aidan Landry" userId="3189a9fb-e89b-4b01-b295-b304ff3fadbb" providerId="ADAL" clId="{3231467B-52B1-4A17-8E9C-97A5A7B06063}"/>
    <pc:docChg chg="undo custSel addSld delSld modSld modSection">
      <pc:chgData name="Aidan Landry" userId="3189a9fb-e89b-4b01-b295-b304ff3fadbb" providerId="ADAL" clId="{3231467B-52B1-4A17-8E9C-97A5A7B06063}" dt="2024-11-26T16:51:34.567" v="1534" actId="47"/>
      <pc:docMkLst>
        <pc:docMk/>
      </pc:docMkLst>
      <pc:sldChg chg="modSp mod">
        <pc:chgData name="Aidan Landry" userId="3189a9fb-e89b-4b01-b295-b304ff3fadbb" providerId="ADAL" clId="{3231467B-52B1-4A17-8E9C-97A5A7B06063}" dt="2024-11-25T15:59:42.196" v="32" actId="108"/>
        <pc:sldMkLst>
          <pc:docMk/>
          <pc:sldMk cId="326362598" sldId="579"/>
        </pc:sldMkLst>
        <pc:spChg chg="mod">
          <ac:chgData name="Aidan Landry" userId="3189a9fb-e89b-4b01-b295-b304ff3fadbb" providerId="ADAL" clId="{3231467B-52B1-4A17-8E9C-97A5A7B06063}" dt="2024-11-25T15:59:35.940" v="30" actId="108"/>
          <ac:spMkLst>
            <pc:docMk/>
            <pc:sldMk cId="326362598" sldId="579"/>
            <ac:spMk id="801" creationId="{F82AA610-2B09-5601-C3A3-5B8B2E5F35C5}"/>
          </ac:spMkLst>
        </pc:spChg>
        <pc:spChg chg="mod">
          <ac:chgData name="Aidan Landry" userId="3189a9fb-e89b-4b01-b295-b304ff3fadbb" providerId="ADAL" clId="{3231467B-52B1-4A17-8E9C-97A5A7B06063}" dt="2024-11-25T15:59:32.012" v="29" actId="108"/>
          <ac:spMkLst>
            <pc:docMk/>
            <pc:sldMk cId="326362598" sldId="579"/>
            <ac:spMk id="804" creationId="{C1A38F07-47D0-7F74-2B4C-CA6A7F73BD5E}"/>
          </ac:spMkLst>
        </pc:spChg>
        <pc:spChg chg="mod">
          <ac:chgData name="Aidan Landry" userId="3189a9fb-e89b-4b01-b295-b304ff3fadbb" providerId="ADAL" clId="{3231467B-52B1-4A17-8E9C-97A5A7B06063}" dt="2024-11-25T15:59:38.879" v="31" actId="108"/>
          <ac:spMkLst>
            <pc:docMk/>
            <pc:sldMk cId="326362598" sldId="579"/>
            <ac:spMk id="807" creationId="{6B17833B-654D-8F9D-D27D-998975499230}"/>
          </ac:spMkLst>
        </pc:spChg>
        <pc:spChg chg="mod">
          <ac:chgData name="Aidan Landry" userId="3189a9fb-e89b-4b01-b295-b304ff3fadbb" providerId="ADAL" clId="{3231467B-52B1-4A17-8E9C-97A5A7B06063}" dt="2024-11-25T15:59:42.196" v="32" actId="108"/>
          <ac:spMkLst>
            <pc:docMk/>
            <pc:sldMk cId="326362598" sldId="579"/>
            <ac:spMk id="810" creationId="{2CBA4727-7EFA-E68D-392F-D8E68EE9DE2E}"/>
          </ac:spMkLst>
        </pc:spChg>
      </pc:sldChg>
      <pc:sldChg chg="modSp mod">
        <pc:chgData name="Aidan Landry" userId="3189a9fb-e89b-4b01-b295-b304ff3fadbb" providerId="ADAL" clId="{3231467B-52B1-4A17-8E9C-97A5A7B06063}" dt="2024-11-25T16:41:19.292" v="35" actId="20577"/>
        <pc:sldMkLst>
          <pc:docMk/>
          <pc:sldMk cId="1533146030" sldId="651"/>
        </pc:sldMkLst>
        <pc:spChg chg="mod">
          <ac:chgData name="Aidan Landry" userId="3189a9fb-e89b-4b01-b295-b304ff3fadbb" providerId="ADAL" clId="{3231467B-52B1-4A17-8E9C-97A5A7B06063}" dt="2024-11-25T16:41:19.292" v="35" actId="20577"/>
          <ac:spMkLst>
            <pc:docMk/>
            <pc:sldMk cId="1533146030" sldId="651"/>
            <ac:spMk id="3" creationId="{B0FAD62E-2CD3-2E12-244C-3E8F06F44816}"/>
          </ac:spMkLst>
        </pc:spChg>
      </pc:sldChg>
      <pc:sldChg chg="delSp modSp mod">
        <pc:chgData name="Aidan Landry" userId="3189a9fb-e89b-4b01-b295-b304ff3fadbb" providerId="ADAL" clId="{3231467B-52B1-4A17-8E9C-97A5A7B06063}" dt="2024-11-25T16:42:23.036" v="141" actId="478"/>
        <pc:sldMkLst>
          <pc:docMk/>
          <pc:sldMk cId="1787319496" sldId="652"/>
        </pc:sldMkLst>
      </pc:sldChg>
      <pc:sldChg chg="del">
        <pc:chgData name="Aidan Landry" userId="3189a9fb-e89b-4b01-b295-b304ff3fadbb" providerId="ADAL" clId="{3231467B-52B1-4A17-8E9C-97A5A7B06063}" dt="2024-11-25T16:43:08.319" v="214" actId="47"/>
        <pc:sldMkLst>
          <pc:docMk/>
          <pc:sldMk cId="3874982595" sldId="653"/>
        </pc:sldMkLst>
      </pc:sldChg>
      <pc:sldChg chg="addSp delSp modSp mod delAnim modNotesTx">
        <pc:chgData name="Aidan Landry" userId="3189a9fb-e89b-4b01-b295-b304ff3fadbb" providerId="ADAL" clId="{3231467B-52B1-4A17-8E9C-97A5A7B06063}" dt="2024-11-26T14:25:42.864" v="1532" actId="1076"/>
        <pc:sldMkLst>
          <pc:docMk/>
          <pc:sldMk cId="994611207" sldId="654"/>
        </pc:sldMkLst>
        <pc:spChg chg="add mod">
          <ac:chgData name="Aidan Landry" userId="3189a9fb-e89b-4b01-b295-b304ff3fadbb" providerId="ADAL" clId="{3231467B-52B1-4A17-8E9C-97A5A7B06063}" dt="2024-11-25T17:14:19.261" v="1348" actId="20577"/>
          <ac:spMkLst>
            <pc:docMk/>
            <pc:sldMk cId="994611207" sldId="654"/>
            <ac:spMk id="9" creationId="{7333D423-E2BE-37CF-A67B-0F3F1234C3B8}"/>
          </ac:spMkLst>
        </pc:spChg>
        <pc:spChg chg="add mod">
          <ac:chgData name="Aidan Landry" userId="3189a9fb-e89b-4b01-b295-b304ff3fadbb" providerId="ADAL" clId="{3231467B-52B1-4A17-8E9C-97A5A7B06063}" dt="2024-11-25T17:17:27.443" v="1415" actId="207"/>
          <ac:spMkLst>
            <pc:docMk/>
            <pc:sldMk cId="994611207" sldId="654"/>
            <ac:spMk id="24" creationId="{B010C026-3802-4286-A77A-E1199267FA9A}"/>
          </ac:spMkLst>
        </pc:spChg>
        <pc:spChg chg="add mod">
          <ac:chgData name="Aidan Landry" userId="3189a9fb-e89b-4b01-b295-b304ff3fadbb" providerId="ADAL" clId="{3231467B-52B1-4A17-8E9C-97A5A7B06063}" dt="2024-11-25T16:53:03.373" v="474"/>
          <ac:spMkLst>
            <pc:docMk/>
            <pc:sldMk cId="994611207" sldId="654"/>
            <ac:spMk id="25" creationId="{EA841127-0B72-400E-AB5C-5996369E3F23}"/>
          </ac:spMkLst>
        </pc:spChg>
        <pc:spChg chg="add mod">
          <ac:chgData name="Aidan Landry" userId="3189a9fb-e89b-4b01-b295-b304ff3fadbb" providerId="ADAL" clId="{3231467B-52B1-4A17-8E9C-97A5A7B06063}" dt="2024-11-25T16:53:03.373" v="474"/>
          <ac:spMkLst>
            <pc:docMk/>
            <pc:sldMk cId="994611207" sldId="654"/>
            <ac:spMk id="26" creationId="{D9CD124E-7F9C-4C15-BB2B-846DC19013E9}"/>
          </ac:spMkLst>
        </pc:spChg>
        <pc:spChg chg="add mod">
          <ac:chgData name="Aidan Landry" userId="3189a9fb-e89b-4b01-b295-b304ff3fadbb" providerId="ADAL" clId="{3231467B-52B1-4A17-8E9C-97A5A7B06063}" dt="2024-11-25T16:53:03.373" v="474"/>
          <ac:spMkLst>
            <pc:docMk/>
            <pc:sldMk cId="994611207" sldId="654"/>
            <ac:spMk id="28" creationId="{D52005BE-D983-4EB9-BEA3-07C1BBC8A6BF}"/>
          </ac:spMkLst>
        </pc:spChg>
        <pc:spChg chg="add mod">
          <ac:chgData name="Aidan Landry" userId="3189a9fb-e89b-4b01-b295-b304ff3fadbb" providerId="ADAL" clId="{3231467B-52B1-4A17-8E9C-97A5A7B06063}" dt="2024-11-25T16:53:03.373" v="474"/>
          <ac:spMkLst>
            <pc:docMk/>
            <pc:sldMk cId="994611207" sldId="654"/>
            <ac:spMk id="30" creationId="{75AE09E3-BEA6-4B5A-9103-2B6063C50E76}"/>
          </ac:spMkLst>
        </pc:spChg>
        <pc:spChg chg="add mod">
          <ac:chgData name="Aidan Landry" userId="3189a9fb-e89b-4b01-b295-b304ff3fadbb" providerId="ADAL" clId="{3231467B-52B1-4A17-8E9C-97A5A7B06063}" dt="2024-11-25T16:53:03.373" v="474"/>
          <ac:spMkLst>
            <pc:docMk/>
            <pc:sldMk cId="994611207" sldId="654"/>
            <ac:spMk id="31" creationId="{091970E9-B341-497A-854A-4B65909F0B77}"/>
          </ac:spMkLst>
        </pc:spChg>
        <pc:spChg chg="add mod">
          <ac:chgData name="Aidan Landry" userId="3189a9fb-e89b-4b01-b295-b304ff3fadbb" providerId="ADAL" clId="{3231467B-52B1-4A17-8E9C-97A5A7B06063}" dt="2024-11-25T16:53:03.373" v="474"/>
          <ac:spMkLst>
            <pc:docMk/>
            <pc:sldMk cId="994611207" sldId="654"/>
            <ac:spMk id="32" creationId="{1E5BED45-4DC4-4ED3-9E4A-CC81DBF89B85}"/>
          </ac:spMkLst>
        </pc:spChg>
        <pc:spChg chg="add mod">
          <ac:chgData name="Aidan Landry" userId="3189a9fb-e89b-4b01-b295-b304ff3fadbb" providerId="ADAL" clId="{3231467B-52B1-4A17-8E9C-97A5A7B06063}" dt="2024-11-25T16:53:03.373" v="474"/>
          <ac:spMkLst>
            <pc:docMk/>
            <pc:sldMk cId="994611207" sldId="654"/>
            <ac:spMk id="33" creationId="{13E3C802-5A00-434C-988F-8476FFAC0ACA}"/>
          </ac:spMkLst>
        </pc:spChg>
        <pc:spChg chg="add mod">
          <ac:chgData name="Aidan Landry" userId="3189a9fb-e89b-4b01-b295-b304ff3fadbb" providerId="ADAL" clId="{3231467B-52B1-4A17-8E9C-97A5A7B06063}" dt="2024-11-25T16:53:03.373" v="474"/>
          <ac:spMkLst>
            <pc:docMk/>
            <pc:sldMk cId="994611207" sldId="654"/>
            <ac:spMk id="34" creationId="{48092B67-1EA0-4A1B-A801-2FBECFCC82CF}"/>
          </ac:spMkLst>
        </pc:spChg>
        <pc:spChg chg="add mod">
          <ac:chgData name="Aidan Landry" userId="3189a9fb-e89b-4b01-b295-b304ff3fadbb" providerId="ADAL" clId="{3231467B-52B1-4A17-8E9C-97A5A7B06063}" dt="2024-11-25T16:53:57.405" v="500"/>
          <ac:spMkLst>
            <pc:docMk/>
            <pc:sldMk cId="994611207" sldId="654"/>
            <ac:spMk id="36" creationId="{7E33BE8F-7805-4E21-85B5-0AD74CEF5F8F}"/>
          </ac:spMkLst>
        </pc:spChg>
        <pc:spChg chg="add mod">
          <ac:chgData name="Aidan Landry" userId="3189a9fb-e89b-4b01-b295-b304ff3fadbb" providerId="ADAL" clId="{3231467B-52B1-4A17-8E9C-97A5A7B06063}" dt="2024-11-25T17:13:07.958" v="1303" actId="20577"/>
          <ac:spMkLst>
            <pc:docMk/>
            <pc:sldMk cId="994611207" sldId="654"/>
            <ac:spMk id="37" creationId="{E63B8F72-0C39-4049-B965-C1E39209CD8E}"/>
          </ac:spMkLst>
        </pc:spChg>
        <pc:spChg chg="add mod">
          <ac:chgData name="Aidan Landry" userId="3189a9fb-e89b-4b01-b295-b304ff3fadbb" providerId="ADAL" clId="{3231467B-52B1-4A17-8E9C-97A5A7B06063}" dt="2024-11-25T16:57:03.470" v="571" actId="313"/>
          <ac:spMkLst>
            <pc:docMk/>
            <pc:sldMk cId="994611207" sldId="654"/>
            <ac:spMk id="38" creationId="{22691FBF-4771-47F6-A111-1BC9273483CC}"/>
          </ac:spMkLst>
        </pc:spChg>
        <pc:spChg chg="add mod">
          <ac:chgData name="Aidan Landry" userId="3189a9fb-e89b-4b01-b295-b304ff3fadbb" providerId="ADAL" clId="{3231467B-52B1-4A17-8E9C-97A5A7B06063}" dt="2024-11-25T16:54:08.584" v="502"/>
          <ac:spMkLst>
            <pc:docMk/>
            <pc:sldMk cId="994611207" sldId="654"/>
            <ac:spMk id="40" creationId="{475C21F5-C8B8-46C5-A762-CD9A2B5FBC4D}"/>
          </ac:spMkLst>
        </pc:spChg>
        <pc:spChg chg="add mod">
          <ac:chgData name="Aidan Landry" userId="3189a9fb-e89b-4b01-b295-b304ff3fadbb" providerId="ADAL" clId="{3231467B-52B1-4A17-8E9C-97A5A7B06063}" dt="2024-11-26T14:24:56.663" v="1525" actId="20577"/>
          <ac:spMkLst>
            <pc:docMk/>
            <pc:sldMk cId="994611207" sldId="654"/>
            <ac:spMk id="41" creationId="{534CC06A-9008-44E6-982A-F3D576AF80C2}"/>
          </ac:spMkLst>
        </pc:spChg>
        <pc:spChg chg="add mod">
          <ac:chgData name="Aidan Landry" userId="3189a9fb-e89b-4b01-b295-b304ff3fadbb" providerId="ADAL" clId="{3231467B-52B1-4A17-8E9C-97A5A7B06063}" dt="2024-11-26T14:24:22.550" v="1455" actId="20577"/>
          <ac:spMkLst>
            <pc:docMk/>
            <pc:sldMk cId="994611207" sldId="654"/>
            <ac:spMk id="44" creationId="{B0F1B315-6C66-4A9D-A848-849C643BD499}"/>
          </ac:spMkLst>
        </pc:spChg>
        <pc:spChg chg="add mod">
          <ac:chgData name="Aidan Landry" userId="3189a9fb-e89b-4b01-b295-b304ff3fadbb" providerId="ADAL" clId="{3231467B-52B1-4A17-8E9C-97A5A7B06063}" dt="2024-11-25T16:54:24.975" v="504"/>
          <ac:spMkLst>
            <pc:docMk/>
            <pc:sldMk cId="994611207" sldId="654"/>
            <ac:spMk id="46" creationId="{D1680D6F-8E4D-4546-9F14-F5796942ED7B}"/>
          </ac:spMkLst>
        </pc:spChg>
        <pc:spChg chg="add mod">
          <ac:chgData name="Aidan Landry" userId="3189a9fb-e89b-4b01-b295-b304ff3fadbb" providerId="ADAL" clId="{3231467B-52B1-4A17-8E9C-97A5A7B06063}" dt="2024-11-25T17:10:11.426" v="1046" actId="20577"/>
          <ac:spMkLst>
            <pc:docMk/>
            <pc:sldMk cId="994611207" sldId="654"/>
            <ac:spMk id="47" creationId="{90C95E8F-99AD-487F-AF09-FCA17A31A7D2}"/>
          </ac:spMkLst>
        </pc:spChg>
        <pc:spChg chg="add mod">
          <ac:chgData name="Aidan Landry" userId="3189a9fb-e89b-4b01-b295-b304ff3fadbb" providerId="ADAL" clId="{3231467B-52B1-4A17-8E9C-97A5A7B06063}" dt="2024-11-25T16:55:12.150" v="525" actId="20577"/>
          <ac:spMkLst>
            <pc:docMk/>
            <pc:sldMk cId="994611207" sldId="654"/>
            <ac:spMk id="49" creationId="{EA797053-3AC5-4A12-AAF2-D2FFEBE033D1}"/>
          </ac:spMkLst>
        </pc:spChg>
        <pc:spChg chg="add mod">
          <ac:chgData name="Aidan Landry" userId="3189a9fb-e89b-4b01-b295-b304ff3fadbb" providerId="ADAL" clId="{3231467B-52B1-4A17-8E9C-97A5A7B06063}" dt="2024-11-25T16:54:44.297" v="510"/>
          <ac:spMkLst>
            <pc:docMk/>
            <pc:sldMk cId="994611207" sldId="654"/>
            <ac:spMk id="51" creationId="{6D47D1BF-1CB1-4879-A73B-35928D91AE62}"/>
          </ac:spMkLst>
        </pc:spChg>
        <pc:spChg chg="add mod">
          <ac:chgData name="Aidan Landry" userId="3189a9fb-e89b-4b01-b295-b304ff3fadbb" providerId="ADAL" clId="{3231467B-52B1-4A17-8E9C-97A5A7B06063}" dt="2024-11-25T17:25:33.707" v="1416" actId="20577"/>
          <ac:spMkLst>
            <pc:docMk/>
            <pc:sldMk cId="994611207" sldId="654"/>
            <ac:spMk id="53" creationId="{34E01994-5847-496A-81F4-0FC0347E40AF}"/>
          </ac:spMkLst>
        </pc:spChg>
        <pc:spChg chg="add mod">
          <ac:chgData name="Aidan Landry" userId="3189a9fb-e89b-4b01-b295-b304ff3fadbb" providerId="ADAL" clId="{3231467B-52B1-4A17-8E9C-97A5A7B06063}" dt="2024-11-25T16:56:13.952" v="545" actId="20577"/>
          <ac:spMkLst>
            <pc:docMk/>
            <pc:sldMk cId="994611207" sldId="654"/>
            <ac:spMk id="55" creationId="{699BD184-2757-442C-8F82-4BDACBECBF37}"/>
          </ac:spMkLst>
        </pc:spChg>
        <pc:grpChg chg="add mod">
          <ac:chgData name="Aidan Landry" userId="3189a9fb-e89b-4b01-b295-b304ff3fadbb" providerId="ADAL" clId="{3231467B-52B1-4A17-8E9C-97A5A7B06063}" dt="2024-11-26T14:25:31.821" v="1529" actId="1076"/>
          <ac:grpSpMkLst>
            <pc:docMk/>
            <pc:sldMk cId="994611207" sldId="654"/>
            <ac:grpSpMk id="13" creationId="{876D235B-583B-4B75-8CDD-49CEF0C4D00A}"/>
          </ac:grpSpMkLst>
        </pc:grpChg>
        <pc:grpChg chg="add mod">
          <ac:chgData name="Aidan Landry" userId="3189a9fb-e89b-4b01-b295-b304ff3fadbb" providerId="ADAL" clId="{3231467B-52B1-4A17-8E9C-97A5A7B06063}" dt="2024-11-25T16:54:02.564" v="501" actId="1076"/>
          <ac:grpSpMkLst>
            <pc:docMk/>
            <pc:sldMk cId="994611207" sldId="654"/>
            <ac:grpSpMk id="35" creationId="{D5F34205-A176-4CA6-977A-C0D70870506F}"/>
          </ac:grpSpMkLst>
        </pc:grpChg>
        <pc:grpChg chg="add mod">
          <ac:chgData name="Aidan Landry" userId="3189a9fb-e89b-4b01-b295-b304ff3fadbb" providerId="ADAL" clId="{3231467B-52B1-4A17-8E9C-97A5A7B06063}" dt="2024-11-25T16:54:16.997" v="503" actId="1076"/>
          <ac:grpSpMkLst>
            <pc:docMk/>
            <pc:sldMk cId="994611207" sldId="654"/>
            <ac:grpSpMk id="39" creationId="{060CA469-0A32-4A4E-8427-44ABBEE675B5}"/>
          </ac:grpSpMkLst>
        </pc:grpChg>
        <pc:grpChg chg="add mod">
          <ac:chgData name="Aidan Landry" userId="3189a9fb-e89b-4b01-b295-b304ff3fadbb" providerId="ADAL" clId="{3231467B-52B1-4A17-8E9C-97A5A7B06063}" dt="2024-11-25T16:54:38.823" v="509" actId="1076"/>
          <ac:grpSpMkLst>
            <pc:docMk/>
            <pc:sldMk cId="994611207" sldId="654"/>
            <ac:grpSpMk id="45" creationId="{FE07308D-732D-4AEC-8BAE-A5F16F49ECBA}"/>
          </ac:grpSpMkLst>
        </pc:grpChg>
        <pc:grpChg chg="add mod">
          <ac:chgData name="Aidan Landry" userId="3189a9fb-e89b-4b01-b295-b304ff3fadbb" providerId="ADAL" clId="{3231467B-52B1-4A17-8E9C-97A5A7B06063}" dt="2024-11-25T16:54:53.359" v="511" actId="1076"/>
          <ac:grpSpMkLst>
            <pc:docMk/>
            <pc:sldMk cId="994611207" sldId="654"/>
            <ac:grpSpMk id="50" creationId="{9F1B88FE-C28E-4F53-91BA-147C21BF3BE7}"/>
          </ac:grpSpMkLst>
        </pc:grpChg>
        <pc:picChg chg="add mod">
          <ac:chgData name="Aidan Landry" userId="3189a9fb-e89b-4b01-b295-b304ff3fadbb" providerId="ADAL" clId="{3231467B-52B1-4A17-8E9C-97A5A7B06063}" dt="2024-11-26T14:25:42.864" v="1532" actId="1076"/>
          <ac:picMkLst>
            <pc:docMk/>
            <pc:sldMk cId="994611207" sldId="654"/>
            <ac:picMk id="3" creationId="{9FBC0781-7FC9-77C2-4D93-56976E970704}"/>
          </ac:picMkLst>
        </pc:picChg>
        <pc:picChg chg="add mod">
          <ac:chgData name="Aidan Landry" userId="3189a9fb-e89b-4b01-b295-b304ff3fadbb" providerId="ADAL" clId="{3231467B-52B1-4A17-8E9C-97A5A7B06063}" dt="2024-11-25T17:00:00.852" v="609" actId="1076"/>
          <ac:picMkLst>
            <pc:docMk/>
            <pc:sldMk cId="994611207" sldId="654"/>
            <ac:picMk id="59" creationId="{94F994FB-E9AD-2248-19C2-2C74194A29C3}"/>
          </ac:picMkLst>
        </pc:picChg>
        <pc:picChg chg="add mod">
          <ac:chgData name="Aidan Landry" userId="3189a9fb-e89b-4b01-b295-b304ff3fadbb" providerId="ADAL" clId="{3231467B-52B1-4A17-8E9C-97A5A7B06063}" dt="2024-11-25T16:59:55.458" v="608" actId="1076"/>
          <ac:picMkLst>
            <pc:docMk/>
            <pc:sldMk cId="994611207" sldId="654"/>
            <ac:picMk id="62" creationId="{852A5FEE-213F-4BA1-BF81-EC1994713EB8}"/>
          </ac:picMkLst>
        </pc:picChg>
        <pc:picChg chg="add del mod">
          <ac:chgData name="Aidan Landry" userId="3189a9fb-e89b-4b01-b295-b304ff3fadbb" providerId="ADAL" clId="{3231467B-52B1-4A17-8E9C-97A5A7B06063}" dt="2024-11-26T14:25:34.689" v="1530" actId="478"/>
          <ac:picMkLst>
            <pc:docMk/>
            <pc:sldMk cId="994611207" sldId="654"/>
            <ac:picMk id="64" creationId="{35BCCD12-51A5-7E20-B2BF-7D7DC38EE59F}"/>
          </ac:picMkLst>
        </pc:picChg>
        <pc:picChg chg="add mod">
          <ac:chgData name="Aidan Landry" userId="3189a9fb-e89b-4b01-b295-b304ff3fadbb" providerId="ADAL" clId="{3231467B-52B1-4A17-8E9C-97A5A7B06063}" dt="2024-11-25T17:02:48.188" v="630" actId="1076"/>
          <ac:picMkLst>
            <pc:docMk/>
            <pc:sldMk cId="994611207" sldId="654"/>
            <ac:picMk id="70" creationId="{5E76C591-717B-30B3-6047-CB4A0B70F25D}"/>
          </ac:picMkLst>
        </pc:picChg>
        <pc:cxnChg chg="add mod">
          <ac:chgData name="Aidan Landry" userId="3189a9fb-e89b-4b01-b295-b304ff3fadbb" providerId="ADAL" clId="{3231467B-52B1-4A17-8E9C-97A5A7B06063}" dt="2024-11-25T16:53:03.373" v="474"/>
          <ac:cxnSpMkLst>
            <pc:docMk/>
            <pc:sldMk cId="994611207" sldId="654"/>
            <ac:cxnSpMk id="15" creationId="{3F501DD9-E3D8-4BFE-A2F9-1681CC63AEA2}"/>
          </ac:cxnSpMkLst>
        </pc:cxnChg>
        <pc:cxnChg chg="add mod">
          <ac:chgData name="Aidan Landry" userId="3189a9fb-e89b-4b01-b295-b304ff3fadbb" providerId="ADAL" clId="{3231467B-52B1-4A17-8E9C-97A5A7B06063}" dt="2024-11-25T16:53:03.373" v="474"/>
          <ac:cxnSpMkLst>
            <pc:docMk/>
            <pc:sldMk cId="994611207" sldId="654"/>
            <ac:cxnSpMk id="17" creationId="{39184C1F-F122-4904-AE8D-CAB5D4587D8B}"/>
          </ac:cxnSpMkLst>
        </pc:cxnChg>
        <pc:cxnChg chg="add mod">
          <ac:chgData name="Aidan Landry" userId="3189a9fb-e89b-4b01-b295-b304ff3fadbb" providerId="ADAL" clId="{3231467B-52B1-4A17-8E9C-97A5A7B06063}" dt="2024-11-25T16:53:03.373" v="474"/>
          <ac:cxnSpMkLst>
            <pc:docMk/>
            <pc:sldMk cId="994611207" sldId="654"/>
            <ac:cxnSpMk id="18" creationId="{45D2E3ED-3CCC-4CDF-B326-AA363689985B}"/>
          </ac:cxnSpMkLst>
        </pc:cxnChg>
        <pc:cxnChg chg="add mod">
          <ac:chgData name="Aidan Landry" userId="3189a9fb-e89b-4b01-b295-b304ff3fadbb" providerId="ADAL" clId="{3231467B-52B1-4A17-8E9C-97A5A7B06063}" dt="2024-11-25T16:53:03.373" v="474"/>
          <ac:cxnSpMkLst>
            <pc:docMk/>
            <pc:sldMk cId="994611207" sldId="654"/>
            <ac:cxnSpMk id="19" creationId="{ABA8BB46-406A-4E5B-9C8A-CD5C58B83FC9}"/>
          </ac:cxnSpMkLst>
        </pc:cxnChg>
        <pc:cxnChg chg="add mod">
          <ac:chgData name="Aidan Landry" userId="3189a9fb-e89b-4b01-b295-b304ff3fadbb" providerId="ADAL" clId="{3231467B-52B1-4A17-8E9C-97A5A7B06063}" dt="2024-11-25T16:53:03.373" v="474"/>
          <ac:cxnSpMkLst>
            <pc:docMk/>
            <pc:sldMk cId="994611207" sldId="654"/>
            <ac:cxnSpMk id="20" creationId="{FD754A18-22D3-4C69-82E4-D659B7BAF88C}"/>
          </ac:cxnSpMkLst>
        </pc:cxnChg>
        <pc:cxnChg chg="add mod">
          <ac:chgData name="Aidan Landry" userId="3189a9fb-e89b-4b01-b295-b304ff3fadbb" providerId="ADAL" clId="{3231467B-52B1-4A17-8E9C-97A5A7B06063}" dt="2024-11-25T16:53:03.373" v="474"/>
          <ac:cxnSpMkLst>
            <pc:docMk/>
            <pc:sldMk cId="994611207" sldId="654"/>
            <ac:cxnSpMk id="21" creationId="{81413897-9DA5-40B0-995D-A63127392405}"/>
          </ac:cxnSpMkLst>
        </pc:cxnChg>
        <pc:cxnChg chg="add mod">
          <ac:chgData name="Aidan Landry" userId="3189a9fb-e89b-4b01-b295-b304ff3fadbb" providerId="ADAL" clId="{3231467B-52B1-4A17-8E9C-97A5A7B06063}" dt="2024-11-25T16:53:03.373" v="474"/>
          <ac:cxnSpMkLst>
            <pc:docMk/>
            <pc:sldMk cId="994611207" sldId="654"/>
            <ac:cxnSpMk id="22" creationId="{E62FF15B-192F-49B1-BD1B-C4F5A194EFF1}"/>
          </ac:cxnSpMkLst>
        </pc:cxnChg>
        <pc:cxnChg chg="add mod">
          <ac:chgData name="Aidan Landry" userId="3189a9fb-e89b-4b01-b295-b304ff3fadbb" providerId="ADAL" clId="{3231467B-52B1-4A17-8E9C-97A5A7B06063}" dt="2024-11-25T16:53:03.373" v="474"/>
          <ac:cxnSpMkLst>
            <pc:docMk/>
            <pc:sldMk cId="994611207" sldId="654"/>
            <ac:cxnSpMk id="23" creationId="{C5D456A3-F494-485A-92BE-699CC7EB52BE}"/>
          </ac:cxnSpMkLst>
        </pc:cxnChg>
      </pc:sldChg>
      <pc:sldChg chg="del">
        <pc:chgData name="Aidan Landry" userId="3189a9fb-e89b-4b01-b295-b304ff3fadbb" providerId="ADAL" clId="{3231467B-52B1-4A17-8E9C-97A5A7B06063}" dt="2024-11-25T16:43:01.273" v="213" actId="47"/>
        <pc:sldMkLst>
          <pc:docMk/>
          <pc:sldMk cId="1274719457" sldId="657"/>
        </pc:sldMkLst>
      </pc:sldChg>
      <pc:sldChg chg="addSp delSp modSp mod">
        <pc:chgData name="Aidan Landry" userId="3189a9fb-e89b-4b01-b295-b304ff3fadbb" providerId="ADAL" clId="{3231467B-52B1-4A17-8E9C-97A5A7B06063}" dt="2024-11-25T16:48:07.923" v="403" actId="313"/>
        <pc:sldMkLst>
          <pc:docMk/>
          <pc:sldMk cId="1819382037" sldId="659"/>
        </pc:sldMkLst>
        <pc:spChg chg="add mod">
          <ac:chgData name="Aidan Landry" userId="3189a9fb-e89b-4b01-b295-b304ff3fadbb" providerId="ADAL" clId="{3231467B-52B1-4A17-8E9C-97A5A7B06063}" dt="2024-11-25T16:48:07.923" v="403" actId="313"/>
          <ac:spMkLst>
            <pc:docMk/>
            <pc:sldMk cId="1819382037" sldId="659"/>
            <ac:spMk id="3" creationId="{5FFDAB8C-6CB3-3BEE-3ED1-AF1B9EA7FA33}"/>
          </ac:spMkLst>
        </pc:spChg>
        <pc:spChg chg="mod">
          <ac:chgData name="Aidan Landry" userId="3189a9fb-e89b-4b01-b295-b304ff3fadbb" providerId="ADAL" clId="{3231467B-52B1-4A17-8E9C-97A5A7B06063}" dt="2024-11-25T16:43:17.852" v="233" actId="20577"/>
          <ac:spMkLst>
            <pc:docMk/>
            <pc:sldMk cId="1819382037" sldId="659"/>
            <ac:spMk id="42" creationId="{C7E757C5-03D1-1F7C-8394-C9FB4BCDFB61}"/>
          </ac:spMkLst>
        </pc:spChg>
      </pc:sldChg>
      <pc:sldChg chg="del">
        <pc:chgData name="Aidan Landry" userId="3189a9fb-e89b-4b01-b295-b304ff3fadbb" providerId="ADAL" clId="{3231467B-52B1-4A17-8E9C-97A5A7B06063}" dt="2024-11-25T16:43:09.722" v="215" actId="47"/>
        <pc:sldMkLst>
          <pc:docMk/>
          <pc:sldMk cId="2135841358" sldId="660"/>
        </pc:sldMkLst>
      </pc:sldChg>
      <pc:sldChg chg="del">
        <pc:chgData name="Aidan Landry" userId="3189a9fb-e89b-4b01-b295-b304ff3fadbb" providerId="ADAL" clId="{3231467B-52B1-4A17-8E9C-97A5A7B06063}" dt="2024-11-25T16:43:10.780" v="216" actId="47"/>
        <pc:sldMkLst>
          <pc:docMk/>
          <pc:sldMk cId="223390664" sldId="661"/>
        </pc:sldMkLst>
      </pc:sldChg>
      <pc:sldChg chg="delSp modSp mod">
        <pc:chgData name="Aidan Landry" userId="3189a9fb-e89b-4b01-b295-b304ff3fadbb" providerId="ADAL" clId="{3231467B-52B1-4A17-8E9C-97A5A7B06063}" dt="2024-11-25T16:41:55.483" v="92" actId="478"/>
        <pc:sldMkLst>
          <pc:docMk/>
          <pc:sldMk cId="3402755058" sldId="662"/>
        </pc:sldMkLst>
        <pc:spChg chg="mod">
          <ac:chgData name="Aidan Landry" userId="3189a9fb-e89b-4b01-b295-b304ff3fadbb" providerId="ADAL" clId="{3231467B-52B1-4A17-8E9C-97A5A7B06063}" dt="2024-11-25T16:41:35.400" v="66" actId="20577"/>
          <ac:spMkLst>
            <pc:docMk/>
            <pc:sldMk cId="3402755058" sldId="662"/>
            <ac:spMk id="2" creationId="{734C21C5-BBA6-E1E4-DFA4-175BC9E0A0A9}"/>
          </ac:spMkLst>
        </pc:spChg>
        <pc:spChg chg="mod">
          <ac:chgData name="Aidan Landry" userId="3189a9fb-e89b-4b01-b295-b304ff3fadbb" providerId="ADAL" clId="{3231467B-52B1-4A17-8E9C-97A5A7B06063}" dt="2024-11-25T16:41:45.295" v="89" actId="20577"/>
          <ac:spMkLst>
            <pc:docMk/>
            <pc:sldMk cId="3402755058" sldId="662"/>
            <ac:spMk id="66" creationId="{E0B822B0-B1CE-6A20-F8A5-049C02FB9828}"/>
          </ac:spMkLst>
        </pc:spChg>
      </pc:sldChg>
      <pc:sldChg chg="delSp modSp mod">
        <pc:chgData name="Aidan Landry" userId="3189a9fb-e89b-4b01-b295-b304ff3fadbb" providerId="ADAL" clId="{3231467B-52B1-4A17-8E9C-97A5A7B06063}" dt="2024-11-25T16:42:37.975" v="176" actId="478"/>
        <pc:sldMkLst>
          <pc:docMk/>
          <pc:sldMk cId="3071594886" sldId="663"/>
        </pc:sldMkLst>
      </pc:sldChg>
      <pc:sldChg chg="modSp mod">
        <pc:chgData name="Aidan Landry" userId="3189a9fb-e89b-4b01-b295-b304ff3fadbb" providerId="ADAL" clId="{3231467B-52B1-4A17-8E9C-97A5A7B06063}" dt="2024-11-25T15:56:42.291" v="27" actId="20577"/>
        <pc:sldMkLst>
          <pc:docMk/>
          <pc:sldMk cId="2459506782" sldId="664"/>
        </pc:sldMkLst>
        <pc:spChg chg="mod">
          <ac:chgData name="Aidan Landry" userId="3189a9fb-e89b-4b01-b295-b304ff3fadbb" providerId="ADAL" clId="{3231467B-52B1-4A17-8E9C-97A5A7B06063}" dt="2024-11-25T15:56:42.291" v="27" actId="20577"/>
          <ac:spMkLst>
            <pc:docMk/>
            <pc:sldMk cId="2459506782" sldId="664"/>
            <ac:spMk id="6" creationId="{0837F090-DEF9-FC2C-0D6C-29947B657BEC}"/>
          </ac:spMkLst>
        </pc:spChg>
      </pc:sldChg>
      <pc:sldChg chg="modSp add mod">
        <pc:chgData name="Aidan Landry" userId="3189a9fb-e89b-4b01-b295-b304ff3fadbb" providerId="ADAL" clId="{3231467B-52B1-4A17-8E9C-97A5A7B06063}" dt="2024-11-25T17:13:30.031" v="1325" actId="14100"/>
        <pc:sldMkLst>
          <pc:docMk/>
          <pc:sldMk cId="244646061" sldId="665"/>
        </pc:sldMkLst>
      </pc:sldChg>
      <pc:sldChg chg="new del">
        <pc:chgData name="Aidan Landry" userId="3189a9fb-e89b-4b01-b295-b304ff3fadbb" providerId="ADAL" clId="{3231467B-52B1-4A17-8E9C-97A5A7B06063}" dt="2024-11-26T16:51:34.567" v="1534" actId="47"/>
        <pc:sldMkLst>
          <pc:docMk/>
          <pc:sldMk cId="530668186" sldId="677"/>
        </pc:sldMkLst>
      </pc:sldChg>
    </pc:docChg>
  </pc:docChgLst>
  <pc:docChgLst>
    <pc:chgData name="Bullinger, Marvin" userId="5b54ce5a-dc89-476f-af33-5abd75d5b1e8" providerId="ADAL" clId="{ACC1FB44-D32D-4647-9A24-D6B5766AFFE9}"/>
    <pc:docChg chg="undo custSel addSld delSld modSld modMainMaster modSection">
      <pc:chgData name="Bullinger, Marvin" userId="5b54ce5a-dc89-476f-af33-5abd75d5b1e8" providerId="ADAL" clId="{ACC1FB44-D32D-4647-9A24-D6B5766AFFE9}" dt="2024-10-03T16:04:52.660" v="274" actId="20577"/>
      <pc:docMkLst>
        <pc:docMk/>
      </pc:docMkLst>
      <pc:sldChg chg="del">
        <pc:chgData name="Bullinger, Marvin" userId="5b54ce5a-dc89-476f-af33-5abd75d5b1e8" providerId="ADAL" clId="{ACC1FB44-D32D-4647-9A24-D6B5766AFFE9}" dt="2024-10-03T15:55:52.705" v="38" actId="47"/>
        <pc:sldMkLst>
          <pc:docMk/>
          <pc:sldMk cId="2083976492" sldId="562"/>
        </pc:sldMkLst>
      </pc:sldChg>
      <pc:sldChg chg="addSp delSp modSp mod modNotesTx">
        <pc:chgData name="Bullinger, Marvin" userId="5b54ce5a-dc89-476f-af33-5abd75d5b1e8" providerId="ADAL" clId="{ACC1FB44-D32D-4647-9A24-D6B5766AFFE9}" dt="2024-10-03T16:00:56.411" v="174" actId="20577"/>
        <pc:sldMkLst>
          <pc:docMk/>
          <pc:sldMk cId="326362598" sldId="579"/>
        </pc:sldMkLst>
        <pc:spChg chg="mod">
          <ac:chgData name="Bullinger, Marvin" userId="5b54ce5a-dc89-476f-af33-5abd75d5b1e8" providerId="ADAL" clId="{ACC1FB44-D32D-4647-9A24-D6B5766AFFE9}" dt="2024-10-03T15:57:21.401" v="50" actId="20577"/>
          <ac:spMkLst>
            <pc:docMk/>
            <pc:sldMk cId="326362598" sldId="579"/>
            <ac:spMk id="797" creationId="{15E76851-7824-6CAE-1D75-67C77781FE81}"/>
          </ac:spMkLst>
        </pc:spChg>
        <pc:spChg chg="add del mod">
          <ac:chgData name="Bullinger, Marvin" userId="5b54ce5a-dc89-476f-af33-5abd75d5b1e8" providerId="ADAL" clId="{ACC1FB44-D32D-4647-9A24-D6B5766AFFE9}" dt="2024-10-03T15:57:19.023" v="48" actId="478"/>
          <ac:spMkLst>
            <pc:docMk/>
            <pc:sldMk cId="326362598" sldId="579"/>
            <ac:spMk id="798" creationId="{1A2D9CAD-706A-5E36-FFFD-2822F5DA7876}"/>
          </ac:spMkLst>
        </pc:spChg>
        <pc:spChg chg="mod">
          <ac:chgData name="Bullinger, Marvin" userId="5b54ce5a-dc89-476f-af33-5abd75d5b1e8" providerId="ADAL" clId="{ACC1FB44-D32D-4647-9A24-D6B5766AFFE9}" dt="2024-10-03T15:56:17.473" v="39" actId="207"/>
          <ac:spMkLst>
            <pc:docMk/>
            <pc:sldMk cId="326362598" sldId="579"/>
            <ac:spMk id="799" creationId="{E719E103-5F12-0EF7-1AD5-2C3BB4A5F8E5}"/>
          </ac:spMkLst>
        </pc:spChg>
      </pc:sldChg>
      <pc:sldChg chg="del">
        <pc:chgData name="Bullinger, Marvin" userId="5b54ce5a-dc89-476f-af33-5abd75d5b1e8" providerId="ADAL" clId="{ACC1FB44-D32D-4647-9A24-D6B5766AFFE9}" dt="2024-10-03T15:55:50.228" v="33" actId="47"/>
        <pc:sldMkLst>
          <pc:docMk/>
          <pc:sldMk cId="459806595" sldId="580"/>
        </pc:sldMkLst>
      </pc:sldChg>
      <pc:sldChg chg="del">
        <pc:chgData name="Bullinger, Marvin" userId="5b54ce5a-dc89-476f-af33-5abd75d5b1e8" providerId="ADAL" clId="{ACC1FB44-D32D-4647-9A24-D6B5766AFFE9}" dt="2024-10-03T15:55:52.269" v="37" actId="47"/>
        <pc:sldMkLst>
          <pc:docMk/>
          <pc:sldMk cId="4264639648" sldId="595"/>
        </pc:sldMkLst>
      </pc:sldChg>
      <pc:sldChg chg="del">
        <pc:chgData name="Bullinger, Marvin" userId="5b54ce5a-dc89-476f-af33-5abd75d5b1e8" providerId="ADAL" clId="{ACC1FB44-D32D-4647-9A24-D6B5766AFFE9}" dt="2024-10-03T15:55:46.382" v="26" actId="47"/>
        <pc:sldMkLst>
          <pc:docMk/>
          <pc:sldMk cId="1803820397" sldId="604"/>
        </pc:sldMkLst>
      </pc:sldChg>
      <pc:sldChg chg="del">
        <pc:chgData name="Bullinger, Marvin" userId="5b54ce5a-dc89-476f-af33-5abd75d5b1e8" providerId="ADAL" clId="{ACC1FB44-D32D-4647-9A24-D6B5766AFFE9}" dt="2024-10-03T15:55:44.087" v="24" actId="47"/>
        <pc:sldMkLst>
          <pc:docMk/>
          <pc:sldMk cId="1824871312" sldId="610"/>
        </pc:sldMkLst>
      </pc:sldChg>
      <pc:sldChg chg="del">
        <pc:chgData name="Bullinger, Marvin" userId="5b54ce5a-dc89-476f-af33-5abd75d5b1e8" providerId="ADAL" clId="{ACC1FB44-D32D-4647-9A24-D6B5766AFFE9}" dt="2024-10-03T15:55:50.710" v="34" actId="47"/>
        <pc:sldMkLst>
          <pc:docMk/>
          <pc:sldMk cId="4234233811" sldId="611"/>
        </pc:sldMkLst>
      </pc:sldChg>
      <pc:sldChg chg="modSp mod">
        <pc:chgData name="Bullinger, Marvin" userId="5b54ce5a-dc89-476f-af33-5abd75d5b1e8" providerId="ADAL" clId="{ACC1FB44-D32D-4647-9A24-D6B5766AFFE9}" dt="2024-10-03T16:04:52.660" v="274" actId="20577"/>
        <pc:sldMkLst>
          <pc:docMk/>
          <pc:sldMk cId="3672594058" sldId="614"/>
        </pc:sldMkLst>
      </pc:sldChg>
      <pc:sldChg chg="del modNotesTx">
        <pc:chgData name="Bullinger, Marvin" userId="5b54ce5a-dc89-476f-af33-5abd75d5b1e8" providerId="ADAL" clId="{ACC1FB44-D32D-4647-9A24-D6B5766AFFE9}" dt="2024-10-03T15:55:16.912" v="20" actId="47"/>
        <pc:sldMkLst>
          <pc:docMk/>
          <pc:sldMk cId="4285173817" sldId="615"/>
        </pc:sldMkLst>
      </pc:sldChg>
      <pc:sldChg chg="del">
        <pc:chgData name="Bullinger, Marvin" userId="5b54ce5a-dc89-476f-af33-5abd75d5b1e8" providerId="ADAL" clId="{ACC1FB44-D32D-4647-9A24-D6B5766AFFE9}" dt="2024-10-03T15:55:05.664" v="18" actId="47"/>
        <pc:sldMkLst>
          <pc:docMk/>
          <pc:sldMk cId="1664074779" sldId="617"/>
        </pc:sldMkLst>
      </pc:sldChg>
      <pc:sldChg chg="del">
        <pc:chgData name="Bullinger, Marvin" userId="5b54ce5a-dc89-476f-af33-5abd75d5b1e8" providerId="ADAL" clId="{ACC1FB44-D32D-4647-9A24-D6B5766AFFE9}" dt="2024-10-03T15:55:46.944" v="27" actId="47"/>
        <pc:sldMkLst>
          <pc:docMk/>
          <pc:sldMk cId="4108023729" sldId="630"/>
        </pc:sldMkLst>
      </pc:sldChg>
      <pc:sldChg chg="del">
        <pc:chgData name="Bullinger, Marvin" userId="5b54ce5a-dc89-476f-af33-5abd75d5b1e8" providerId="ADAL" clId="{ACC1FB44-D32D-4647-9A24-D6B5766AFFE9}" dt="2024-10-03T15:55:45.660" v="25" actId="47"/>
        <pc:sldMkLst>
          <pc:docMk/>
          <pc:sldMk cId="1134739054" sldId="631"/>
        </pc:sldMkLst>
      </pc:sldChg>
      <pc:sldChg chg="del">
        <pc:chgData name="Bullinger, Marvin" userId="5b54ce5a-dc89-476f-af33-5abd75d5b1e8" providerId="ADAL" clId="{ACC1FB44-D32D-4647-9A24-D6B5766AFFE9}" dt="2024-10-03T15:55:48.056" v="29" actId="47"/>
        <pc:sldMkLst>
          <pc:docMk/>
          <pc:sldMk cId="3197800461" sldId="632"/>
        </pc:sldMkLst>
      </pc:sldChg>
      <pc:sldChg chg="del">
        <pc:chgData name="Bullinger, Marvin" userId="5b54ce5a-dc89-476f-af33-5abd75d5b1e8" providerId="ADAL" clId="{ACC1FB44-D32D-4647-9A24-D6B5766AFFE9}" dt="2024-10-03T15:55:48.608" v="30" actId="47"/>
        <pc:sldMkLst>
          <pc:docMk/>
          <pc:sldMk cId="2950531154" sldId="633"/>
        </pc:sldMkLst>
      </pc:sldChg>
      <pc:sldChg chg="del">
        <pc:chgData name="Bullinger, Marvin" userId="5b54ce5a-dc89-476f-af33-5abd75d5b1e8" providerId="ADAL" clId="{ACC1FB44-D32D-4647-9A24-D6B5766AFFE9}" dt="2024-10-03T15:55:49.131" v="31" actId="47"/>
        <pc:sldMkLst>
          <pc:docMk/>
          <pc:sldMk cId="1385473652" sldId="635"/>
        </pc:sldMkLst>
      </pc:sldChg>
      <pc:sldChg chg="del">
        <pc:chgData name="Bullinger, Marvin" userId="5b54ce5a-dc89-476f-af33-5abd75d5b1e8" providerId="ADAL" clId="{ACC1FB44-D32D-4647-9A24-D6B5766AFFE9}" dt="2024-10-03T15:55:49.735" v="32" actId="47"/>
        <pc:sldMkLst>
          <pc:docMk/>
          <pc:sldMk cId="2673565317" sldId="636"/>
        </pc:sldMkLst>
      </pc:sldChg>
      <pc:sldChg chg="del">
        <pc:chgData name="Bullinger, Marvin" userId="5b54ce5a-dc89-476f-af33-5abd75d5b1e8" providerId="ADAL" clId="{ACC1FB44-D32D-4647-9A24-D6B5766AFFE9}" dt="2024-10-03T15:55:05.664" v="18" actId="47"/>
        <pc:sldMkLst>
          <pc:docMk/>
          <pc:sldMk cId="2266583018" sldId="637"/>
        </pc:sldMkLst>
      </pc:sldChg>
      <pc:sldChg chg="del">
        <pc:chgData name="Bullinger, Marvin" userId="5b54ce5a-dc89-476f-af33-5abd75d5b1e8" providerId="ADAL" clId="{ACC1FB44-D32D-4647-9A24-D6B5766AFFE9}" dt="2024-10-03T15:55:51.201" v="35" actId="47"/>
        <pc:sldMkLst>
          <pc:docMk/>
          <pc:sldMk cId="1262355509" sldId="643"/>
        </pc:sldMkLst>
      </pc:sldChg>
      <pc:sldChg chg="del">
        <pc:chgData name="Bullinger, Marvin" userId="5b54ce5a-dc89-476f-af33-5abd75d5b1e8" providerId="ADAL" clId="{ACC1FB44-D32D-4647-9A24-D6B5766AFFE9}" dt="2024-10-03T15:55:51.739" v="36" actId="47"/>
        <pc:sldMkLst>
          <pc:docMk/>
          <pc:sldMk cId="2186703549" sldId="648"/>
        </pc:sldMkLst>
      </pc:sldChg>
      <pc:sldChg chg="del">
        <pc:chgData name="Bullinger, Marvin" userId="5b54ce5a-dc89-476f-af33-5abd75d5b1e8" providerId="ADAL" clId="{ACC1FB44-D32D-4647-9A24-D6B5766AFFE9}" dt="2024-10-03T15:55:47.509" v="28" actId="47"/>
        <pc:sldMkLst>
          <pc:docMk/>
          <pc:sldMk cId="3159847066" sldId="649"/>
        </pc:sldMkLst>
      </pc:sldChg>
      <pc:sldChg chg="addSp delSp modSp mod">
        <pc:chgData name="Bullinger, Marvin" userId="5b54ce5a-dc89-476f-af33-5abd75d5b1e8" providerId="ADAL" clId="{ACC1FB44-D32D-4647-9A24-D6B5766AFFE9}" dt="2024-10-03T16:00:41.284" v="173" actId="20577"/>
        <pc:sldMkLst>
          <pc:docMk/>
          <pc:sldMk cId="211836646" sldId="650"/>
        </pc:sldMkLst>
      </pc:sldChg>
      <pc:sldChg chg="new del">
        <pc:chgData name="Bullinger, Marvin" userId="5b54ce5a-dc89-476f-af33-5abd75d5b1e8" providerId="ADAL" clId="{ACC1FB44-D32D-4647-9A24-D6B5766AFFE9}" dt="2024-10-03T16:04:28.076" v="266" actId="47"/>
        <pc:sldMkLst>
          <pc:docMk/>
          <pc:sldMk cId="528452379" sldId="651"/>
        </pc:sldMkLst>
      </pc:sldChg>
      <pc:sldChg chg="addSp delSp modSp new mod modClrScheme chgLayout">
        <pc:chgData name="Bullinger, Marvin" userId="5b54ce5a-dc89-476f-af33-5abd75d5b1e8" providerId="ADAL" clId="{ACC1FB44-D32D-4647-9A24-D6B5766AFFE9}" dt="2024-10-03T16:04:38.123" v="268" actId="700"/>
        <pc:sldMkLst>
          <pc:docMk/>
          <pc:sldMk cId="1533146030" sldId="651"/>
        </pc:sldMkLst>
        <pc:spChg chg="mod ord">
          <ac:chgData name="Bullinger, Marvin" userId="5b54ce5a-dc89-476f-af33-5abd75d5b1e8" providerId="ADAL" clId="{ACC1FB44-D32D-4647-9A24-D6B5766AFFE9}" dt="2024-10-03T16:04:38.123" v="268" actId="700"/>
          <ac:spMkLst>
            <pc:docMk/>
            <pc:sldMk cId="1533146030" sldId="651"/>
            <ac:spMk id="27" creationId="{6ACF39F5-C145-B30E-6FE5-364D7828441D}"/>
          </ac:spMkLst>
        </pc:spChg>
        <pc:spChg chg="add mod ord">
          <ac:chgData name="Bullinger, Marvin" userId="5b54ce5a-dc89-476f-af33-5abd75d5b1e8" providerId="ADAL" clId="{ACC1FB44-D32D-4647-9A24-D6B5766AFFE9}" dt="2024-10-03T16:04:38.123" v="268" actId="700"/>
          <ac:spMkLst>
            <pc:docMk/>
            <pc:sldMk cId="1533146030" sldId="651"/>
            <ac:spMk id="42" creationId="{C7E757C5-03D1-1F7C-8394-C9FB4BCDFB61}"/>
          </ac:spMkLst>
        </pc:spChg>
        <pc:spChg chg="add mod ord">
          <ac:chgData name="Bullinger, Marvin" userId="5b54ce5a-dc89-476f-af33-5abd75d5b1e8" providerId="ADAL" clId="{ACC1FB44-D32D-4647-9A24-D6B5766AFFE9}" dt="2024-10-03T16:04:38.123" v="268" actId="700"/>
          <ac:spMkLst>
            <pc:docMk/>
            <pc:sldMk cId="1533146030" sldId="651"/>
            <ac:spMk id="44" creationId="{9A0D7DE8-29FE-08C8-D01C-97334E84F4D3}"/>
          </ac:spMkLst>
        </pc:spChg>
      </pc:sldChg>
      <pc:sldChg chg="del">
        <pc:chgData name="Bullinger, Marvin" userId="5b54ce5a-dc89-476f-af33-5abd75d5b1e8" providerId="ADAL" clId="{ACC1FB44-D32D-4647-9A24-D6B5766AFFE9}" dt="2024-10-03T15:55:19.834" v="23" actId="47"/>
        <pc:sldMkLst>
          <pc:docMk/>
          <pc:sldMk cId="1743979101" sldId="652"/>
        </pc:sldMkLst>
      </pc:sldChg>
      <pc:sldChg chg="add">
        <pc:chgData name="Bullinger, Marvin" userId="5b54ce5a-dc89-476f-af33-5abd75d5b1e8" providerId="ADAL" clId="{ACC1FB44-D32D-4647-9A24-D6B5766AFFE9}" dt="2024-10-03T16:04:42.895" v="269"/>
        <pc:sldMkLst>
          <pc:docMk/>
          <pc:sldMk cId="1787319496" sldId="652"/>
        </pc:sldMkLst>
      </pc:sldChg>
      <pc:sldChg chg="del">
        <pc:chgData name="Bullinger, Marvin" userId="5b54ce5a-dc89-476f-af33-5abd75d5b1e8" providerId="ADAL" clId="{ACC1FB44-D32D-4647-9A24-D6B5766AFFE9}" dt="2024-10-03T15:55:05.664" v="18" actId="47"/>
        <pc:sldMkLst>
          <pc:docMk/>
          <pc:sldMk cId="950309191" sldId="653"/>
        </pc:sldMkLst>
      </pc:sldChg>
      <pc:sldChg chg="add">
        <pc:chgData name="Bullinger, Marvin" userId="5b54ce5a-dc89-476f-af33-5abd75d5b1e8" providerId="ADAL" clId="{ACC1FB44-D32D-4647-9A24-D6B5766AFFE9}" dt="2024-10-03T16:04:43.053" v="270"/>
        <pc:sldMkLst>
          <pc:docMk/>
          <pc:sldMk cId="3874982595" sldId="653"/>
        </pc:sldMkLst>
      </pc:sldChg>
      <pc:sldChg chg="del">
        <pc:chgData name="Bullinger, Marvin" userId="5b54ce5a-dc89-476f-af33-5abd75d5b1e8" providerId="ADAL" clId="{ACC1FB44-D32D-4647-9A24-D6B5766AFFE9}" dt="2024-10-03T15:55:17.875" v="21" actId="47"/>
        <pc:sldMkLst>
          <pc:docMk/>
          <pc:sldMk cId="407075054" sldId="654"/>
        </pc:sldMkLst>
      </pc:sldChg>
      <pc:sldChg chg="add">
        <pc:chgData name="Bullinger, Marvin" userId="5b54ce5a-dc89-476f-af33-5abd75d5b1e8" providerId="ADAL" clId="{ACC1FB44-D32D-4647-9A24-D6B5766AFFE9}" dt="2024-10-03T16:04:43.160" v="271"/>
        <pc:sldMkLst>
          <pc:docMk/>
          <pc:sldMk cId="994611207" sldId="654"/>
        </pc:sldMkLst>
      </pc:sldChg>
      <pc:sldChg chg="add">
        <pc:chgData name="Bullinger, Marvin" userId="5b54ce5a-dc89-476f-af33-5abd75d5b1e8" providerId="ADAL" clId="{ACC1FB44-D32D-4647-9A24-D6B5766AFFE9}" dt="2024-10-03T16:04:43.265" v="272"/>
        <pc:sldMkLst>
          <pc:docMk/>
          <pc:sldMk cId="914361629" sldId="655"/>
        </pc:sldMkLst>
      </pc:sldChg>
      <pc:sldChg chg="del">
        <pc:chgData name="Bullinger, Marvin" userId="5b54ce5a-dc89-476f-af33-5abd75d5b1e8" providerId="ADAL" clId="{ACC1FB44-D32D-4647-9A24-D6B5766AFFE9}" dt="2024-10-03T15:55:18.900" v="22" actId="47"/>
        <pc:sldMkLst>
          <pc:docMk/>
          <pc:sldMk cId="3383019256" sldId="655"/>
        </pc:sldMkLst>
      </pc:sldChg>
      <pc:sldChg chg="del">
        <pc:chgData name="Bullinger, Marvin" userId="5b54ce5a-dc89-476f-af33-5abd75d5b1e8" providerId="ADAL" clId="{ACC1FB44-D32D-4647-9A24-D6B5766AFFE9}" dt="2024-10-03T15:55:05.664" v="18" actId="47"/>
        <pc:sldMkLst>
          <pc:docMk/>
          <pc:sldMk cId="1995518795" sldId="656"/>
        </pc:sldMkLst>
      </pc:sldChg>
      <pc:sldChg chg="add">
        <pc:chgData name="Bullinger, Marvin" userId="5b54ce5a-dc89-476f-af33-5abd75d5b1e8" providerId="ADAL" clId="{ACC1FB44-D32D-4647-9A24-D6B5766AFFE9}" dt="2024-10-03T16:04:43.377" v="273"/>
        <pc:sldMkLst>
          <pc:docMk/>
          <pc:sldMk cId="4107695891" sldId="656"/>
        </pc:sldMkLst>
      </pc:sldChg>
      <pc:sldChg chg="del">
        <pc:chgData name="Bullinger, Marvin" userId="5b54ce5a-dc89-476f-af33-5abd75d5b1e8" providerId="ADAL" clId="{ACC1FB44-D32D-4647-9A24-D6B5766AFFE9}" dt="2024-10-03T15:55:05.664" v="18" actId="47"/>
        <pc:sldMkLst>
          <pc:docMk/>
          <pc:sldMk cId="2040393096" sldId="657"/>
        </pc:sldMkLst>
      </pc:sldChg>
      <pc:sldMasterChg chg="addSp delSp modSp mod modSldLayout">
        <pc:chgData name="Bullinger, Marvin" userId="5b54ce5a-dc89-476f-af33-5abd75d5b1e8" providerId="ADAL" clId="{ACC1FB44-D32D-4647-9A24-D6B5766AFFE9}" dt="2024-10-03T16:04:09.097" v="264"/>
        <pc:sldMasterMkLst>
          <pc:docMk/>
          <pc:sldMasterMk cId="2846167297" sldId="2147483677"/>
        </pc:sldMasterMkLst>
        <pc:picChg chg="add mod modCrop">
          <ac:chgData name="Bullinger, Marvin" userId="5b54ce5a-dc89-476f-af33-5abd75d5b1e8" providerId="ADAL" clId="{ACC1FB44-D32D-4647-9A24-D6B5766AFFE9}" dt="2024-10-03T16:03:58.232" v="260" actId="1037"/>
          <ac:picMkLst>
            <pc:docMk/>
            <pc:sldMasterMk cId="2846167297" sldId="2147483677"/>
            <ac:picMk id="9" creationId="{26474EC8-5C7D-4170-27AC-CE76A6950110}"/>
          </ac:picMkLst>
        </pc:picChg>
        <pc:sldLayoutChg chg="addSp delSp modSp mod">
          <pc:chgData name="Bullinger, Marvin" userId="5b54ce5a-dc89-476f-af33-5abd75d5b1e8" providerId="ADAL" clId="{ACC1FB44-D32D-4647-9A24-D6B5766AFFE9}" dt="2024-10-03T16:04:05.979" v="262"/>
          <pc:sldLayoutMkLst>
            <pc:docMk/>
            <pc:sldMasterMk cId="2846167297" sldId="2147483677"/>
            <pc:sldLayoutMk cId="2552064348" sldId="2147483679"/>
          </pc:sldLayoutMkLst>
        </pc:sldLayoutChg>
        <pc:sldLayoutChg chg="addSp delSp modSp mod">
          <pc:chgData name="Bullinger, Marvin" userId="5b54ce5a-dc89-476f-af33-5abd75d5b1e8" providerId="ADAL" clId="{ACC1FB44-D32D-4647-9A24-D6B5766AFFE9}" dt="2024-10-03T16:04:09.097" v="264"/>
          <pc:sldLayoutMkLst>
            <pc:docMk/>
            <pc:sldMasterMk cId="2846167297" sldId="2147483677"/>
            <pc:sldLayoutMk cId="3747579019" sldId="2147483680"/>
          </pc:sldLayoutMkLst>
        </pc:sldLayoutChg>
        <pc:sldLayoutChg chg="addSp delSp modSp mod">
          <pc:chgData name="Bullinger, Marvin" userId="5b54ce5a-dc89-476f-af33-5abd75d5b1e8" providerId="ADAL" clId="{ACC1FB44-D32D-4647-9A24-D6B5766AFFE9}" dt="2024-10-03T16:03:28.032" v="232" actId="1076"/>
          <pc:sldLayoutMkLst>
            <pc:docMk/>
            <pc:sldMasterMk cId="2846167297" sldId="2147483677"/>
            <pc:sldLayoutMk cId="816259686" sldId="2147483701"/>
          </pc:sldLayoutMkLst>
          <pc:picChg chg="add mod modCrop">
            <ac:chgData name="Bullinger, Marvin" userId="5b54ce5a-dc89-476f-af33-5abd75d5b1e8" providerId="ADAL" clId="{ACC1FB44-D32D-4647-9A24-D6B5766AFFE9}" dt="2024-10-03T16:03:28.032" v="232" actId="1076"/>
            <ac:picMkLst>
              <pc:docMk/>
              <pc:sldMasterMk cId="2846167297" sldId="2147483677"/>
              <pc:sldLayoutMk cId="816259686" sldId="2147483701"/>
              <ac:picMk id="2" creationId="{92F106FB-E60C-5D38-8154-42D2B20B7D47}"/>
            </ac:picMkLst>
          </pc:picChg>
        </pc:sldLayoutChg>
      </pc:sldMasterChg>
    </pc:docChg>
  </pc:docChgLst>
  <pc:docChgLst>
    <pc:chgData name="Marvin Mario Bullinger" userId="3bbe2cfe-6e8b-4ac1-8799-4ce6c696cdc9" providerId="ADAL" clId="{83EC6C93-A35B-42FE-9BA5-ACD64F737211}"/>
    <pc:docChg chg="undo custSel addSld delSld modSld modMainMaster modSection">
      <pc:chgData name="Marvin Mario Bullinger" userId="3bbe2cfe-6e8b-4ac1-8799-4ce6c696cdc9" providerId="ADAL" clId="{83EC6C93-A35B-42FE-9BA5-ACD64F737211}" dt="2024-10-09T00:41:35.490" v="145" actId="47"/>
      <pc:docMkLst>
        <pc:docMk/>
      </pc:docMkLst>
      <pc:sldChg chg="modSp del mod modNotesTx">
        <pc:chgData name="Marvin Mario Bullinger" userId="3bbe2cfe-6e8b-4ac1-8799-4ce6c696cdc9" providerId="ADAL" clId="{83EC6C93-A35B-42FE-9BA5-ACD64F737211}" dt="2024-10-09T00:25:13.541" v="48" actId="47"/>
        <pc:sldMkLst>
          <pc:docMk/>
          <pc:sldMk cId="211836646" sldId="650"/>
        </pc:sldMkLst>
      </pc:sldChg>
      <pc:sldChg chg="delSp mod">
        <pc:chgData name="Marvin Mario Bullinger" userId="3bbe2cfe-6e8b-4ac1-8799-4ce6c696cdc9" providerId="ADAL" clId="{83EC6C93-A35B-42FE-9BA5-ACD64F737211}" dt="2024-10-09T00:25:28.582" v="50" actId="478"/>
        <pc:sldMkLst>
          <pc:docMk/>
          <pc:sldMk cId="1533146030" sldId="651"/>
        </pc:sldMkLst>
      </pc:sldChg>
      <pc:sldChg chg="delSp mod">
        <pc:chgData name="Marvin Mario Bullinger" userId="3bbe2cfe-6e8b-4ac1-8799-4ce6c696cdc9" providerId="ADAL" clId="{83EC6C93-A35B-42FE-9BA5-ACD64F737211}" dt="2024-10-09T00:25:36.231" v="51" actId="478"/>
        <pc:sldMkLst>
          <pc:docMk/>
          <pc:sldMk cId="1787319496" sldId="652"/>
        </pc:sldMkLst>
      </pc:sldChg>
      <pc:sldChg chg="addSp delSp modSp mod">
        <pc:chgData name="Marvin Mario Bullinger" userId="3bbe2cfe-6e8b-4ac1-8799-4ce6c696cdc9" providerId="ADAL" clId="{83EC6C93-A35B-42FE-9BA5-ACD64F737211}" dt="2024-10-09T00:40:46.737" v="144" actId="478"/>
        <pc:sldMkLst>
          <pc:docMk/>
          <pc:sldMk cId="3874982595" sldId="653"/>
        </pc:sldMkLst>
      </pc:sldChg>
      <pc:sldChg chg="delSp mod">
        <pc:chgData name="Marvin Mario Bullinger" userId="3bbe2cfe-6e8b-4ac1-8799-4ce6c696cdc9" providerId="ADAL" clId="{83EC6C93-A35B-42FE-9BA5-ACD64F737211}" dt="2024-10-09T00:25:44.608" v="53" actId="478"/>
        <pc:sldMkLst>
          <pc:docMk/>
          <pc:sldMk cId="994611207" sldId="654"/>
        </pc:sldMkLst>
      </pc:sldChg>
      <pc:sldChg chg="delSp mod">
        <pc:chgData name="Marvin Mario Bullinger" userId="3bbe2cfe-6e8b-4ac1-8799-4ce6c696cdc9" providerId="ADAL" clId="{83EC6C93-A35B-42FE-9BA5-ACD64F737211}" dt="2024-10-09T00:25:50.863" v="54" actId="478"/>
        <pc:sldMkLst>
          <pc:docMk/>
          <pc:sldMk cId="1274719457" sldId="657"/>
        </pc:sldMkLst>
      </pc:sldChg>
      <pc:sldChg chg="delSp mod">
        <pc:chgData name="Marvin Mario Bullinger" userId="3bbe2cfe-6e8b-4ac1-8799-4ce6c696cdc9" providerId="ADAL" clId="{83EC6C93-A35B-42FE-9BA5-ACD64F737211}" dt="2024-10-09T00:26:07.365" v="58" actId="478"/>
        <pc:sldMkLst>
          <pc:docMk/>
          <pc:sldMk cId="1819382037" sldId="659"/>
        </pc:sldMkLst>
      </pc:sldChg>
      <pc:sldChg chg="addSp delSp modSp mod">
        <pc:chgData name="Marvin Mario Bullinger" userId="3bbe2cfe-6e8b-4ac1-8799-4ce6c696cdc9" providerId="ADAL" clId="{83EC6C93-A35B-42FE-9BA5-ACD64F737211}" dt="2024-10-09T00:33:48.533" v="86" actId="20577"/>
        <pc:sldMkLst>
          <pc:docMk/>
          <pc:sldMk cId="2135841358" sldId="660"/>
        </pc:sldMkLst>
      </pc:sldChg>
      <pc:sldChg chg="addSp delSp modSp mod modNotesTx">
        <pc:chgData name="Marvin Mario Bullinger" userId="3bbe2cfe-6e8b-4ac1-8799-4ce6c696cdc9" providerId="ADAL" clId="{83EC6C93-A35B-42FE-9BA5-ACD64F737211}" dt="2024-10-09T00:36:24.028" v="96"/>
        <pc:sldMkLst>
          <pc:docMk/>
          <pc:sldMk cId="223390664" sldId="661"/>
        </pc:sldMkLst>
      </pc:sldChg>
      <pc:sldChg chg="delSp mod">
        <pc:chgData name="Marvin Mario Bullinger" userId="3bbe2cfe-6e8b-4ac1-8799-4ce6c696cdc9" providerId="ADAL" clId="{83EC6C93-A35B-42FE-9BA5-ACD64F737211}" dt="2024-10-09T00:25:24.711" v="49" actId="478"/>
        <pc:sldMkLst>
          <pc:docMk/>
          <pc:sldMk cId="3402755058" sldId="662"/>
        </pc:sldMkLst>
      </pc:sldChg>
      <pc:sldChg chg="delSp mod">
        <pc:chgData name="Marvin Mario Bullinger" userId="3bbe2cfe-6e8b-4ac1-8799-4ce6c696cdc9" providerId="ADAL" clId="{83EC6C93-A35B-42FE-9BA5-ACD64F737211}" dt="2024-10-09T00:25:39.923" v="52" actId="478"/>
        <pc:sldMkLst>
          <pc:docMk/>
          <pc:sldMk cId="3071594886" sldId="663"/>
        </pc:sldMkLst>
      </pc:sldChg>
      <pc:sldChg chg="addSp delSp modSp new mod">
        <pc:chgData name="Marvin Mario Bullinger" userId="3bbe2cfe-6e8b-4ac1-8799-4ce6c696cdc9" providerId="ADAL" clId="{83EC6C93-A35B-42FE-9BA5-ACD64F737211}" dt="2024-10-09T00:25:10.404" v="47"/>
        <pc:sldMkLst>
          <pc:docMk/>
          <pc:sldMk cId="2459506782" sldId="664"/>
        </pc:sldMkLst>
        <pc:spChg chg="add mod">
          <ac:chgData name="Marvin Mario Bullinger" userId="3bbe2cfe-6e8b-4ac1-8799-4ce6c696cdc9" providerId="ADAL" clId="{83EC6C93-A35B-42FE-9BA5-ACD64F737211}" dt="2024-10-09T00:25:10.404" v="47"/>
          <ac:spMkLst>
            <pc:docMk/>
            <pc:sldMk cId="2459506782" sldId="664"/>
            <ac:spMk id="7" creationId="{49CB9965-CC55-9B67-0DC6-3DBDE790AB5E}"/>
          </ac:spMkLst>
        </pc:spChg>
        <pc:spChg chg="add mod">
          <ac:chgData name="Marvin Mario Bullinger" userId="3bbe2cfe-6e8b-4ac1-8799-4ce6c696cdc9" providerId="ADAL" clId="{83EC6C93-A35B-42FE-9BA5-ACD64F737211}" dt="2024-10-09T00:25:10.404" v="47"/>
          <ac:spMkLst>
            <pc:docMk/>
            <pc:sldMk cId="2459506782" sldId="664"/>
            <ac:spMk id="8" creationId="{3E447D12-B3BC-2D6C-1864-FA030F4343F2}"/>
          </ac:spMkLst>
        </pc:spChg>
        <pc:spChg chg="add mod">
          <ac:chgData name="Marvin Mario Bullinger" userId="3bbe2cfe-6e8b-4ac1-8799-4ce6c696cdc9" providerId="ADAL" clId="{83EC6C93-A35B-42FE-9BA5-ACD64F737211}" dt="2024-10-09T00:25:10.404" v="47"/>
          <ac:spMkLst>
            <pc:docMk/>
            <pc:sldMk cId="2459506782" sldId="664"/>
            <ac:spMk id="9" creationId="{D50D9609-BBD9-4FEE-3B92-0A63B6380EDC}"/>
          </ac:spMkLst>
        </pc:spChg>
        <pc:spChg chg="add mod">
          <ac:chgData name="Marvin Mario Bullinger" userId="3bbe2cfe-6e8b-4ac1-8799-4ce6c696cdc9" providerId="ADAL" clId="{83EC6C93-A35B-42FE-9BA5-ACD64F737211}" dt="2024-10-09T00:25:10.404" v="47"/>
          <ac:spMkLst>
            <pc:docMk/>
            <pc:sldMk cId="2459506782" sldId="664"/>
            <ac:spMk id="10" creationId="{1C39EF68-D449-C837-ADC6-A5946FC6FA8D}"/>
          </ac:spMkLst>
        </pc:spChg>
      </pc:sldChg>
      <pc:sldChg chg="addSp modSp new del mod modClrScheme chgLayout">
        <pc:chgData name="Marvin Mario Bullinger" userId="3bbe2cfe-6e8b-4ac1-8799-4ce6c696cdc9" providerId="ADAL" clId="{83EC6C93-A35B-42FE-9BA5-ACD64F737211}" dt="2024-10-09T00:41:35.490" v="145" actId="47"/>
        <pc:sldMkLst>
          <pc:docMk/>
          <pc:sldMk cId="2804152202" sldId="665"/>
        </pc:sldMkLst>
      </pc:sldChg>
      <pc:sldMasterChg chg="modSp mod modSldLayout">
        <pc:chgData name="Marvin Mario Bullinger" userId="3bbe2cfe-6e8b-4ac1-8799-4ce6c696cdc9" providerId="ADAL" clId="{83EC6C93-A35B-42FE-9BA5-ACD64F737211}" dt="2024-10-09T00:24:29.958" v="41" actId="478"/>
        <pc:sldMasterMkLst>
          <pc:docMk/>
          <pc:sldMasterMk cId="2846167297" sldId="2147483677"/>
        </pc:sldMasterMkLst>
        <pc:picChg chg="mod">
          <ac:chgData name="Marvin Mario Bullinger" userId="3bbe2cfe-6e8b-4ac1-8799-4ce6c696cdc9" providerId="ADAL" clId="{83EC6C93-A35B-42FE-9BA5-ACD64F737211}" dt="2024-10-03T20:17:05.496" v="9" actId="1035"/>
          <ac:picMkLst>
            <pc:docMk/>
            <pc:sldMasterMk cId="2846167297" sldId="2147483677"/>
            <ac:picMk id="9" creationId="{26474EC8-5C7D-4170-27AC-CE76A6950110}"/>
          </ac:picMkLst>
        </pc:picChg>
        <pc:sldLayoutChg chg="addSp delSp modSp mod">
          <pc:chgData name="Marvin Mario Bullinger" userId="3bbe2cfe-6e8b-4ac1-8799-4ce6c696cdc9" providerId="ADAL" clId="{83EC6C93-A35B-42FE-9BA5-ACD64F737211}" dt="2024-10-09T00:24:11.462" v="37" actId="20577"/>
          <pc:sldLayoutMkLst>
            <pc:docMk/>
            <pc:sldMasterMk cId="2846167297" sldId="2147483677"/>
            <pc:sldLayoutMk cId="2552064348" sldId="2147483679"/>
          </pc:sldLayoutMkLst>
          <pc:spChg chg="mod">
            <ac:chgData name="Marvin Mario Bullinger" userId="3bbe2cfe-6e8b-4ac1-8799-4ce6c696cdc9" providerId="ADAL" clId="{83EC6C93-A35B-42FE-9BA5-ACD64F737211}" dt="2024-10-09T00:24:11.462" v="37" actId="20577"/>
            <ac:spMkLst>
              <pc:docMk/>
              <pc:sldMasterMk cId="2846167297" sldId="2147483677"/>
              <pc:sldLayoutMk cId="2552064348" sldId="2147483679"/>
              <ac:spMk id="48" creationId="{2A4B3BE6-913A-4465-BEEB-46F60DD5DA84}"/>
            </ac:spMkLst>
          </pc:spChg>
          <pc:picChg chg="add mod">
            <ac:chgData name="Marvin Mario Bullinger" userId="3bbe2cfe-6e8b-4ac1-8799-4ce6c696cdc9" providerId="ADAL" clId="{83EC6C93-A35B-42FE-9BA5-ACD64F737211}" dt="2024-10-03T20:17:11.279" v="11"/>
            <ac:picMkLst>
              <pc:docMk/>
              <pc:sldMasterMk cId="2846167297" sldId="2147483677"/>
              <pc:sldLayoutMk cId="2552064348" sldId="2147483679"/>
              <ac:picMk id="3" creationId="{CBA4CF82-D6CA-42BD-C109-236CBF0A32B8}"/>
            </ac:picMkLst>
          </pc:picChg>
        </pc:sldLayoutChg>
        <pc:sldLayoutChg chg="addSp delSp modSp mod">
          <pc:chgData name="Marvin Mario Bullinger" userId="3bbe2cfe-6e8b-4ac1-8799-4ce6c696cdc9" providerId="ADAL" clId="{83EC6C93-A35B-42FE-9BA5-ACD64F737211}" dt="2024-10-09T00:24:29.958" v="41" actId="478"/>
          <pc:sldLayoutMkLst>
            <pc:docMk/>
            <pc:sldMasterMk cId="2846167297" sldId="2147483677"/>
            <pc:sldLayoutMk cId="3747579019" sldId="2147483680"/>
          </pc:sldLayoutMkLst>
          <pc:spChg chg="add del">
            <ac:chgData name="Marvin Mario Bullinger" userId="3bbe2cfe-6e8b-4ac1-8799-4ce6c696cdc9" providerId="ADAL" clId="{83EC6C93-A35B-42FE-9BA5-ACD64F737211}" dt="2024-10-09T00:24:29.958" v="41" actId="478"/>
            <ac:spMkLst>
              <pc:docMk/>
              <pc:sldMasterMk cId="2846167297" sldId="2147483677"/>
              <pc:sldLayoutMk cId="3747579019" sldId="2147483680"/>
              <ac:spMk id="56" creationId="{3454106C-2ACB-473E-BEB9-6CD72BA5D955}"/>
            </ac:spMkLst>
          </pc:spChg>
          <pc:picChg chg="add mod">
            <ac:chgData name="Marvin Mario Bullinger" userId="3bbe2cfe-6e8b-4ac1-8799-4ce6c696cdc9" providerId="ADAL" clId="{83EC6C93-A35B-42FE-9BA5-ACD64F737211}" dt="2024-10-03T20:17:14.569" v="13"/>
            <ac:picMkLst>
              <pc:docMk/>
              <pc:sldMasterMk cId="2846167297" sldId="2147483677"/>
              <pc:sldLayoutMk cId="3747579019" sldId="2147483680"/>
              <ac:picMk id="4" creationId="{991A978D-32DF-E272-AB92-63C3D247E88B}"/>
            </ac:picMkLst>
          </pc:picChg>
        </pc:sldLayoutChg>
      </pc:sldMasterChg>
    </pc:docChg>
  </pc:docChgLst>
  <pc:docChgLst>
    <pc:chgData name="Bullinger, Marvin" userId="5b54ce5a-dc89-476f-af33-5abd75d5b1e8" providerId="ADAL" clId="{6E711E8B-61A8-43DC-96E6-57837873723C}"/>
    <pc:docChg chg="modSld">
      <pc:chgData name="Bullinger, Marvin" userId="5b54ce5a-dc89-476f-af33-5abd75d5b1e8" providerId="ADAL" clId="{6E711E8B-61A8-43DC-96E6-57837873723C}" dt="2025-02-17T12:46:39.849" v="0" actId="20577"/>
      <pc:docMkLst>
        <pc:docMk/>
      </pc:docMkLst>
      <pc:sldChg chg="modSp mod">
        <pc:chgData name="Bullinger, Marvin" userId="5b54ce5a-dc89-476f-af33-5abd75d5b1e8" providerId="ADAL" clId="{6E711E8B-61A8-43DC-96E6-57837873723C}" dt="2025-02-17T12:46:39.849" v="0" actId="20577"/>
        <pc:sldMkLst>
          <pc:docMk/>
          <pc:sldMk cId="2459506782" sldId="664"/>
        </pc:sldMkLst>
        <pc:spChg chg="mod">
          <ac:chgData name="Bullinger, Marvin" userId="5b54ce5a-dc89-476f-af33-5abd75d5b1e8" providerId="ADAL" clId="{6E711E8B-61A8-43DC-96E6-57837873723C}" dt="2025-02-17T12:46:39.849" v="0" actId="20577"/>
          <ac:spMkLst>
            <pc:docMk/>
            <pc:sldMk cId="2459506782" sldId="664"/>
            <ac:spMk id="9" creationId="{D50D9609-BBD9-4FEE-3B92-0A63B6380EDC}"/>
          </ac:spMkLst>
        </pc:spChg>
      </pc:sldChg>
    </pc:docChg>
  </pc:docChgLst>
  <pc:docChgLst>
    <pc:chgData name="Bullinger, Marvin" userId="5b54ce5a-dc89-476f-af33-5abd75d5b1e8" providerId="ADAL" clId="{1E98F5D7-E289-413D-884E-F642E52B1DF1}"/>
    <pc:docChg chg="undo custSel addSld delSld modSld modMainMaster modSection">
      <pc:chgData name="Bullinger, Marvin" userId="5b54ce5a-dc89-476f-af33-5abd75d5b1e8" providerId="ADAL" clId="{1E98F5D7-E289-413D-884E-F642E52B1DF1}" dt="2024-07-14T12:51:32.540" v="753" actId="478"/>
      <pc:docMkLst>
        <pc:docMk/>
      </pc:docMkLst>
      <pc:sldChg chg="addSp delSp modSp mod">
        <pc:chgData name="Bullinger, Marvin" userId="5b54ce5a-dc89-476f-af33-5abd75d5b1e8" providerId="ADAL" clId="{1E98F5D7-E289-413D-884E-F642E52B1DF1}" dt="2024-07-11T07:43:12.412" v="554" actId="1035"/>
        <pc:sldMkLst>
          <pc:docMk/>
          <pc:sldMk cId="3664439336" sldId="262"/>
        </pc:sldMkLst>
      </pc:sldChg>
      <pc:sldChg chg="addSp delSp modSp mod delAnim">
        <pc:chgData name="Bullinger, Marvin" userId="5b54ce5a-dc89-476f-af33-5abd75d5b1e8" providerId="ADAL" clId="{1E98F5D7-E289-413D-884E-F642E52B1DF1}" dt="2024-07-14T12:51:32.540" v="753" actId="478"/>
        <pc:sldMkLst>
          <pc:docMk/>
          <pc:sldMk cId="2953579200" sldId="264"/>
        </pc:sldMkLst>
      </pc:sldChg>
      <pc:sldChg chg="addSp delSp modSp del mod">
        <pc:chgData name="Bullinger, Marvin" userId="5b54ce5a-dc89-476f-af33-5abd75d5b1e8" providerId="ADAL" clId="{1E98F5D7-E289-413D-884E-F642E52B1DF1}" dt="2024-07-11T07:47:14.645" v="627" actId="47"/>
        <pc:sldMkLst>
          <pc:docMk/>
          <pc:sldMk cId="4287890113" sldId="549"/>
        </pc:sldMkLst>
      </pc:sldChg>
      <pc:sldChg chg="addSp delSp modSp add del mod">
        <pc:chgData name="Bullinger, Marvin" userId="5b54ce5a-dc89-476f-af33-5abd75d5b1e8" providerId="ADAL" clId="{1E98F5D7-E289-413D-884E-F642E52B1DF1}" dt="2024-07-14T12:51:31.985" v="752" actId="207"/>
        <pc:sldMkLst>
          <pc:docMk/>
          <pc:sldMk cId="326362598" sldId="579"/>
        </pc:sldMkLst>
      </pc:sldChg>
      <pc:sldChg chg="addSp delSp modSp mod">
        <pc:chgData name="Bullinger, Marvin" userId="5b54ce5a-dc89-476f-af33-5abd75d5b1e8" providerId="ADAL" clId="{1E98F5D7-E289-413D-884E-F642E52B1DF1}" dt="2024-07-11T07:45:42.037" v="614" actId="20577"/>
        <pc:sldMkLst>
          <pc:docMk/>
          <pc:sldMk cId="1339647628" sldId="586"/>
        </pc:sldMkLst>
      </pc:sldChg>
      <pc:sldChg chg="addSp delSp modSp add mod modTransition addAnim delAnim">
        <pc:chgData name="Bullinger, Marvin" userId="5b54ce5a-dc89-476f-af33-5abd75d5b1e8" providerId="ADAL" clId="{1E98F5D7-E289-413D-884E-F642E52B1DF1}" dt="2024-07-14T12:48:30.527" v="737" actId="478"/>
        <pc:sldMkLst>
          <pc:docMk/>
          <pc:sldMk cId="4234233811" sldId="611"/>
        </pc:sldMkLst>
      </pc:sldChg>
      <pc:sldChg chg="modSp add del mod modTransition">
        <pc:chgData name="Bullinger, Marvin" userId="5b54ce5a-dc89-476f-af33-5abd75d5b1e8" providerId="ADAL" clId="{1E98F5D7-E289-413D-884E-F642E52B1DF1}" dt="2024-07-11T08:38:38.045" v="689" actId="47"/>
        <pc:sldMkLst>
          <pc:docMk/>
          <pc:sldMk cId="2706580699" sldId="612"/>
        </pc:sldMkLst>
      </pc:sldChg>
      <pc:sldChg chg="addSp delSp modSp add mod">
        <pc:chgData name="Bullinger, Marvin" userId="5b54ce5a-dc89-476f-af33-5abd75d5b1e8" providerId="ADAL" clId="{1E98F5D7-E289-413D-884E-F642E52B1DF1}" dt="2024-07-14T12:48:33.094" v="738" actId="478"/>
        <pc:sldMkLst>
          <pc:docMk/>
          <pc:sldMk cId="3768756170" sldId="612"/>
        </pc:sldMkLst>
      </pc:sldChg>
      <pc:sldChg chg="modSp add del mod modTransition">
        <pc:chgData name="Bullinger, Marvin" userId="5b54ce5a-dc89-476f-af33-5abd75d5b1e8" providerId="ADAL" clId="{1E98F5D7-E289-413D-884E-F642E52B1DF1}" dt="2024-07-11T08:38:39.003" v="690" actId="47"/>
        <pc:sldMkLst>
          <pc:docMk/>
          <pc:sldMk cId="1018127200" sldId="613"/>
        </pc:sldMkLst>
      </pc:sldChg>
      <pc:sldChg chg="addSp delSp modSp add mod modTransition">
        <pc:chgData name="Bullinger, Marvin" userId="5b54ce5a-dc89-476f-af33-5abd75d5b1e8" providerId="ADAL" clId="{1E98F5D7-E289-413D-884E-F642E52B1DF1}" dt="2024-07-14T12:48:56.944" v="739" actId="478"/>
        <pc:sldMkLst>
          <pc:docMk/>
          <pc:sldMk cId="3888348133" sldId="613"/>
        </pc:sldMkLst>
      </pc:sldChg>
      <pc:sldChg chg="addSp modSp add mod">
        <pc:chgData name="Bullinger, Marvin" userId="5b54ce5a-dc89-476f-af33-5abd75d5b1e8" providerId="ADAL" clId="{1E98F5D7-E289-413D-884E-F642E52B1DF1}" dt="2024-07-14T12:47:44.939" v="736" actId="339"/>
        <pc:sldMkLst>
          <pc:docMk/>
          <pc:sldMk cId="67794375" sldId="614"/>
        </pc:sldMkLst>
      </pc:sldChg>
      <pc:sldChg chg="modSp add del mod">
        <pc:chgData name="Bullinger, Marvin" userId="5b54ce5a-dc89-476f-af33-5abd75d5b1e8" providerId="ADAL" clId="{1E98F5D7-E289-413D-884E-F642E52B1DF1}" dt="2024-07-11T08:38:40.286" v="691" actId="47"/>
        <pc:sldMkLst>
          <pc:docMk/>
          <pc:sldMk cId="1122958410" sldId="614"/>
        </pc:sldMkLst>
      </pc:sldChg>
      <pc:sldMasterChg chg="addSp modSp mod modSldLayout">
        <pc:chgData name="Bullinger, Marvin" userId="5b54ce5a-dc89-476f-af33-5abd75d5b1e8" providerId="ADAL" clId="{1E98F5D7-E289-413D-884E-F642E52B1DF1}" dt="2024-07-11T07:32:37.845" v="284" actId="14100"/>
        <pc:sldMasterMkLst>
          <pc:docMk/>
          <pc:sldMasterMk cId="2846167297" sldId="2147483677"/>
        </pc:sldMasterMkLst>
        <pc:sldLayoutChg chg="modSp mod">
          <pc:chgData name="Bullinger, Marvin" userId="5b54ce5a-dc89-476f-af33-5abd75d5b1e8" providerId="ADAL" clId="{1E98F5D7-E289-413D-884E-F642E52B1DF1}" dt="2024-07-11T07:32:37.845" v="284" actId="14100"/>
          <pc:sldLayoutMkLst>
            <pc:docMk/>
            <pc:sldMasterMk cId="2846167297" sldId="2147483677"/>
            <pc:sldLayoutMk cId="1852533398" sldId="2147483678"/>
          </pc:sldLayoutMkLst>
        </pc:sldLayoutChg>
      </pc:sldMasterChg>
    </pc:docChg>
  </pc:docChgLst>
  <pc:docChgLst>
    <pc:chgData name="Luke Johnston" userId="7be5ec8b-ae88-4142-92f0-36c89b907afe" providerId="ADAL" clId="{927F5A1B-FF8B-42E2-A04C-9C6C12C31D45}"/>
    <pc:docChg chg="custSel modSld">
      <pc:chgData name="Luke Johnston" userId="7be5ec8b-ae88-4142-92f0-36c89b907afe" providerId="ADAL" clId="{927F5A1B-FF8B-42E2-A04C-9C6C12C31D45}" dt="2024-11-25T17:08:22.868" v="248" actId="20577"/>
      <pc:docMkLst>
        <pc:docMk/>
      </pc:docMkLst>
      <pc:sldChg chg="modSp mod">
        <pc:chgData name="Luke Johnston" userId="7be5ec8b-ae88-4142-92f0-36c89b907afe" providerId="ADAL" clId="{927F5A1B-FF8B-42E2-A04C-9C6C12C31D45}" dt="2024-11-25T17:00:19.251" v="101" actId="2711"/>
        <pc:sldMkLst>
          <pc:docMk/>
          <pc:sldMk cId="1533146030" sldId="651"/>
        </pc:sldMkLst>
        <pc:spChg chg="mod">
          <ac:chgData name="Luke Johnston" userId="7be5ec8b-ae88-4142-92f0-36c89b907afe" providerId="ADAL" clId="{927F5A1B-FF8B-42E2-A04C-9C6C12C31D45}" dt="2024-11-25T17:00:19.251" v="101" actId="2711"/>
          <ac:spMkLst>
            <pc:docMk/>
            <pc:sldMk cId="1533146030" sldId="651"/>
            <ac:spMk id="44" creationId="{9A0D7DE8-29FE-08C8-D01C-97334E84F4D3}"/>
          </ac:spMkLst>
        </pc:spChg>
      </pc:sldChg>
      <pc:sldChg chg="modSp mod">
        <pc:chgData name="Luke Johnston" userId="7be5ec8b-ae88-4142-92f0-36c89b907afe" providerId="ADAL" clId="{927F5A1B-FF8B-42E2-A04C-9C6C12C31D45}" dt="2024-11-25T17:08:22.868" v="248" actId="20577"/>
        <pc:sldMkLst>
          <pc:docMk/>
          <pc:sldMk cId="1819382037" sldId="659"/>
        </pc:sldMkLst>
        <pc:spChg chg="mod">
          <ac:chgData name="Luke Johnston" userId="7be5ec8b-ae88-4142-92f0-36c89b907afe" providerId="ADAL" clId="{927F5A1B-FF8B-42E2-A04C-9C6C12C31D45}" dt="2024-11-25T17:08:22.868" v="248" actId="20577"/>
          <ac:spMkLst>
            <pc:docMk/>
            <pc:sldMk cId="1819382037" sldId="659"/>
            <ac:spMk id="3" creationId="{5FFDAB8C-6CB3-3BEE-3ED1-AF1B9EA7FA33}"/>
          </ac:spMkLst>
        </pc:spChg>
      </pc:sldChg>
      <pc:sldChg chg="addSp delSp modSp mod">
        <pc:chgData name="Luke Johnston" userId="7be5ec8b-ae88-4142-92f0-36c89b907afe" providerId="ADAL" clId="{927F5A1B-FF8B-42E2-A04C-9C6C12C31D45}" dt="2024-11-25T17:00:43.904" v="103" actId="14100"/>
        <pc:sldMkLst>
          <pc:docMk/>
          <pc:sldMk cId="3402755058" sldId="662"/>
        </pc:sldMkLst>
        <pc:spChg chg="add mod">
          <ac:chgData name="Luke Johnston" userId="7be5ec8b-ae88-4142-92f0-36c89b907afe" providerId="ADAL" clId="{927F5A1B-FF8B-42E2-A04C-9C6C12C31D45}" dt="2024-11-25T17:00:43.904" v="103" actId="14100"/>
          <ac:spMkLst>
            <pc:docMk/>
            <pc:sldMk cId="3402755058" sldId="662"/>
            <ac:spMk id="4" creationId="{853FDC43-39DC-57C9-5B88-F7AAAFBCD72A}"/>
          </ac:spMkLst>
        </pc:spChg>
      </pc:sldChg>
    </pc:docChg>
  </pc:docChgLst>
  <pc:docChgLst>
    <pc:chgData name="Marvin Mario Bullinger" userId="3bbe2cfe-6e8b-4ac1-8799-4ce6c696cdc9" providerId="ADAL" clId="{2AE9ADDE-A8C5-4F08-B67B-D89B7C395CF0}"/>
    <pc:docChg chg="undo custSel modSld">
      <pc:chgData name="Marvin Mario Bullinger" userId="3bbe2cfe-6e8b-4ac1-8799-4ce6c696cdc9" providerId="ADAL" clId="{2AE9ADDE-A8C5-4F08-B67B-D89B7C395CF0}" dt="2024-11-25T15:41:09.880" v="188" actId="20577"/>
      <pc:docMkLst>
        <pc:docMk/>
      </pc:docMkLst>
      <pc:sldChg chg="modSp mod">
        <pc:chgData name="Marvin Mario Bullinger" userId="3bbe2cfe-6e8b-4ac1-8799-4ce6c696cdc9" providerId="ADAL" clId="{2AE9ADDE-A8C5-4F08-B67B-D89B7C395CF0}" dt="2024-11-25T15:41:09.880" v="188" actId="20577"/>
        <pc:sldMkLst>
          <pc:docMk/>
          <pc:sldMk cId="326362598" sldId="579"/>
        </pc:sldMkLst>
        <pc:spChg chg="mod">
          <ac:chgData name="Marvin Mario Bullinger" userId="3bbe2cfe-6e8b-4ac1-8799-4ce6c696cdc9" providerId="ADAL" clId="{2AE9ADDE-A8C5-4F08-B67B-D89B7C395CF0}" dt="2024-11-25T15:41:03.968" v="169" actId="20577"/>
          <ac:spMkLst>
            <pc:docMk/>
            <pc:sldMk cId="326362598" sldId="579"/>
            <ac:spMk id="798" creationId="{1A2D9CAD-706A-5E36-FFFD-2822F5DA7876}"/>
          </ac:spMkLst>
        </pc:spChg>
        <pc:spChg chg="mod">
          <ac:chgData name="Marvin Mario Bullinger" userId="3bbe2cfe-6e8b-4ac1-8799-4ce6c696cdc9" providerId="ADAL" clId="{2AE9ADDE-A8C5-4F08-B67B-D89B7C395CF0}" dt="2024-11-25T15:41:02.886" v="166" actId="20577"/>
          <ac:spMkLst>
            <pc:docMk/>
            <pc:sldMk cId="326362598" sldId="579"/>
            <ac:spMk id="801" creationId="{F82AA610-2B09-5601-C3A3-5B8B2E5F35C5}"/>
          </ac:spMkLst>
        </pc:spChg>
        <pc:spChg chg="mod">
          <ac:chgData name="Marvin Mario Bullinger" userId="3bbe2cfe-6e8b-4ac1-8799-4ce6c696cdc9" providerId="ADAL" clId="{2AE9ADDE-A8C5-4F08-B67B-D89B7C395CF0}" dt="2024-11-25T15:40:29.500" v="96" actId="20577"/>
          <ac:spMkLst>
            <pc:docMk/>
            <pc:sldMk cId="326362598" sldId="579"/>
            <ac:spMk id="804" creationId="{C1A38F07-47D0-7F74-2B4C-CA6A7F73BD5E}"/>
          </ac:spMkLst>
        </pc:spChg>
        <pc:spChg chg="mod">
          <ac:chgData name="Marvin Mario Bullinger" userId="3bbe2cfe-6e8b-4ac1-8799-4ce6c696cdc9" providerId="ADAL" clId="{2AE9ADDE-A8C5-4F08-B67B-D89B7C395CF0}" dt="2024-11-25T15:40:59.903" v="162" actId="1038"/>
          <ac:spMkLst>
            <pc:docMk/>
            <pc:sldMk cId="326362598" sldId="579"/>
            <ac:spMk id="807" creationId="{6B17833B-654D-8F9D-D27D-998975499230}"/>
          </ac:spMkLst>
        </pc:spChg>
        <pc:spChg chg="mod">
          <ac:chgData name="Marvin Mario Bullinger" userId="3bbe2cfe-6e8b-4ac1-8799-4ce6c696cdc9" providerId="ADAL" clId="{2AE9ADDE-A8C5-4F08-B67B-D89B7C395CF0}" dt="2024-11-25T15:41:09.880" v="188" actId="20577"/>
          <ac:spMkLst>
            <pc:docMk/>
            <pc:sldMk cId="326362598" sldId="579"/>
            <ac:spMk id="810" creationId="{2CBA4727-7EFA-E68D-392F-D8E68EE9DE2E}"/>
          </ac:spMkLst>
        </pc:spChg>
      </pc:sldChg>
    </pc:docChg>
  </pc:docChgLst>
  <pc:docChgLst>
    <pc:chgData name="Gavin Grimm" userId="6c4cb79d-2b23-417c-a733-7dcc36d0b4a1" providerId="ADAL" clId="{BA27B0C3-7E3B-4446-93A0-A47C6FAD50DC}"/>
    <pc:docChg chg="undo redo custSel addSld delSld modSld sldOrd modSection">
      <pc:chgData name="Gavin Grimm" userId="6c4cb79d-2b23-417c-a733-7dcc36d0b4a1" providerId="ADAL" clId="{BA27B0C3-7E3B-4446-93A0-A47C6FAD50DC}" dt="2024-10-09T00:40:28.534" v="1552" actId="5793"/>
      <pc:docMkLst>
        <pc:docMk/>
      </pc:docMkLst>
      <pc:sldChg chg="addSp delSp modSp mod delAnim modAnim modNotesTx">
        <pc:chgData name="Gavin Grimm" userId="6c4cb79d-2b23-417c-a733-7dcc36d0b4a1" providerId="ADAL" clId="{BA27B0C3-7E3B-4446-93A0-A47C6FAD50DC}" dt="2024-10-09T00:40:28.534" v="1552" actId="5793"/>
        <pc:sldMkLst>
          <pc:docMk/>
          <pc:sldMk cId="994611207" sldId="654"/>
        </pc:sldMkLst>
      </pc:sldChg>
      <pc:sldChg chg="addSp delSp modSp mod ord modNotesTx">
        <pc:chgData name="Gavin Grimm" userId="6c4cb79d-2b23-417c-a733-7dcc36d0b4a1" providerId="ADAL" clId="{BA27B0C3-7E3B-4446-93A0-A47C6FAD50DC}" dt="2024-10-09T00:40:00.670" v="1534" actId="20577"/>
        <pc:sldMkLst>
          <pc:docMk/>
          <pc:sldMk cId="1274719457" sldId="657"/>
        </pc:sldMkLst>
      </pc:sldChg>
      <pc:sldChg chg="modSp add del mod ord">
        <pc:chgData name="Gavin Grimm" userId="6c4cb79d-2b23-417c-a733-7dcc36d0b4a1" providerId="ADAL" clId="{BA27B0C3-7E3B-4446-93A0-A47C6FAD50DC}" dt="2024-10-04T21:58:10.897" v="74" actId="2890"/>
        <pc:sldMkLst>
          <pc:docMk/>
          <pc:sldMk cId="505818433" sldId="662"/>
        </pc:sldMkLst>
      </pc:sldChg>
      <pc:sldChg chg="addSp delSp modSp add del mod">
        <pc:chgData name="Gavin Grimm" userId="6c4cb79d-2b23-417c-a733-7dcc36d0b4a1" providerId="ADAL" clId="{BA27B0C3-7E3B-4446-93A0-A47C6FAD50DC}" dt="2024-10-04T22:33:37.076" v="367" actId="47"/>
        <pc:sldMkLst>
          <pc:docMk/>
          <pc:sldMk cId="1346025340" sldId="662"/>
        </pc:sldMkLst>
      </pc:sldChg>
      <pc:sldChg chg="modSp add del mod">
        <pc:chgData name="Gavin Grimm" userId="6c4cb79d-2b23-417c-a733-7dcc36d0b4a1" providerId="ADAL" clId="{BA27B0C3-7E3B-4446-93A0-A47C6FAD50DC}" dt="2024-10-04T21:58:10.852" v="70" actId="2890"/>
        <pc:sldMkLst>
          <pc:docMk/>
          <pc:sldMk cId="362498557" sldId="663"/>
        </pc:sldMkLst>
      </pc:sldChg>
    </pc:docChg>
  </pc:docChgLst>
  <pc:docChgLst>
    <pc:chgData name="Aidan Landry" userId="S::ar3landr@uwaterloo.ca::3189a9fb-e89b-4b01-b295-b304ff3fadbb" providerId="AD" clId="Web-{53952373-FB42-A1BA-605A-2910A559DEE5}"/>
    <pc:docChg chg="modSld">
      <pc:chgData name="Aidan Landry" userId="S::ar3landr@uwaterloo.ca::3189a9fb-e89b-4b01-b295-b304ff3fadbb" providerId="AD" clId="Web-{53952373-FB42-A1BA-605A-2910A559DEE5}" dt="2024-10-03T16:15:11.457" v="1" actId="20577"/>
      <pc:docMkLst>
        <pc:docMk/>
      </pc:docMkLst>
      <pc:sldChg chg="modSp">
        <pc:chgData name="Aidan Landry" userId="S::ar3landr@uwaterloo.ca::3189a9fb-e89b-4b01-b295-b304ff3fadbb" providerId="AD" clId="Web-{53952373-FB42-A1BA-605A-2910A559DEE5}" dt="2024-10-03T16:15:11.457" v="1" actId="20577"/>
        <pc:sldMkLst>
          <pc:docMk/>
          <pc:sldMk cId="211836646" sldId="650"/>
        </pc:sldMkLst>
      </pc:sldChg>
    </pc:docChg>
  </pc:docChgLst>
  <pc:docChgLst>
    <pc:chgData name="Leo Xing" userId="S::l7xing@uwaterloo.ca::092ea61f-c2f3-4c9c-8a83-cb04ba707769" providerId="AD" clId="Web-{40871CB0-EDBF-F9B9-B213-4D5BA00CBD8A}"/>
    <pc:docChg chg="modSld">
      <pc:chgData name="Leo Xing" userId="S::l7xing@uwaterloo.ca::092ea61f-c2f3-4c9c-8a83-cb04ba707769" providerId="AD" clId="Web-{40871CB0-EDBF-F9B9-B213-4D5BA00CBD8A}" dt="2024-10-08T18:32:24.069" v="12" actId="20577"/>
      <pc:docMkLst>
        <pc:docMk/>
      </pc:docMkLst>
      <pc:sldChg chg="modSp">
        <pc:chgData name="Leo Xing" userId="S::l7xing@uwaterloo.ca::092ea61f-c2f3-4c9c-8a83-cb04ba707769" providerId="AD" clId="Web-{40871CB0-EDBF-F9B9-B213-4D5BA00CBD8A}" dt="2024-10-08T18:32:24.069" v="12" actId="20577"/>
        <pc:sldMkLst>
          <pc:docMk/>
          <pc:sldMk cId="1787319496" sldId="652"/>
        </pc:sldMkLst>
      </pc:sldChg>
      <pc:sldChg chg="modSp">
        <pc:chgData name="Leo Xing" userId="S::l7xing@uwaterloo.ca::092ea61f-c2f3-4c9c-8a83-cb04ba707769" providerId="AD" clId="Web-{40871CB0-EDBF-F9B9-B213-4D5BA00CBD8A}" dt="2024-10-08T18:32:08.991" v="1" actId="20577"/>
        <pc:sldMkLst>
          <pc:docMk/>
          <pc:sldMk cId="3071594886" sldId="663"/>
        </pc:sldMkLst>
      </pc:sldChg>
    </pc:docChg>
  </pc:docChgLst>
  <pc:docChgLst>
    <pc:chgData name="Luke Johnston" userId="7be5ec8b-ae88-4142-92f0-36c89b907afe" providerId="ADAL" clId="{4160AB1F-2750-4A67-A484-F148538540BB}"/>
    <pc:docChg chg="custSel modSld">
      <pc:chgData name="Luke Johnston" userId="7be5ec8b-ae88-4142-92f0-36c89b907afe" providerId="ADAL" clId="{4160AB1F-2750-4A67-A484-F148538540BB}" dt="2024-10-08T23:21:39.556" v="22" actId="1076"/>
      <pc:docMkLst>
        <pc:docMk/>
      </pc:docMkLst>
      <pc:sldChg chg="addSp delSp modSp mod">
        <pc:chgData name="Luke Johnston" userId="7be5ec8b-ae88-4142-92f0-36c89b907afe" providerId="ADAL" clId="{4160AB1F-2750-4A67-A484-F148538540BB}" dt="2024-10-08T23:21:39.556" v="22" actId="1076"/>
        <pc:sldMkLst>
          <pc:docMk/>
          <pc:sldMk cId="1819382037" sldId="659"/>
        </pc:sldMkLst>
      </pc:sldChg>
    </pc:docChg>
  </pc:docChgLst>
  <pc:docChgLst>
    <pc:chgData name="Leo Xing" userId="S::l7xing@uwaterloo.ca::092ea61f-c2f3-4c9c-8a83-cb04ba707769" providerId="AD" clId="Web-{E44BD2D7-420D-AE51-BE6D-6038DF3003E0}"/>
    <pc:docChg chg="addSld modSld modSection">
      <pc:chgData name="Leo Xing" userId="S::l7xing@uwaterloo.ca::092ea61f-c2f3-4c9c-8a83-cb04ba707769" providerId="AD" clId="Web-{E44BD2D7-420D-AE51-BE6D-6038DF3003E0}" dt="2024-10-05T04:33:46.642" v="11" actId="20577"/>
      <pc:docMkLst>
        <pc:docMk/>
      </pc:docMkLst>
      <pc:sldChg chg="modSp new">
        <pc:chgData name="Leo Xing" userId="S::l7xing@uwaterloo.ca::092ea61f-c2f3-4c9c-8a83-cb04ba707769" providerId="AD" clId="Web-{E44BD2D7-420D-AE51-BE6D-6038DF3003E0}" dt="2024-10-05T04:33:39.485" v="5" actId="20577"/>
        <pc:sldMkLst>
          <pc:docMk/>
          <pc:sldMk cId="3402755058" sldId="662"/>
        </pc:sldMkLst>
        <pc:spChg chg="mod">
          <ac:chgData name="Leo Xing" userId="S::l7xing@uwaterloo.ca::092ea61f-c2f3-4c9c-8a83-cb04ba707769" providerId="AD" clId="Web-{E44BD2D7-420D-AE51-BE6D-6038DF3003E0}" dt="2024-10-05T04:33:39.485" v="5" actId="20577"/>
          <ac:spMkLst>
            <pc:docMk/>
            <pc:sldMk cId="3402755058" sldId="662"/>
            <ac:spMk id="2" creationId="{734C21C5-BBA6-E1E4-DFA4-175BC9E0A0A9}"/>
          </ac:spMkLst>
        </pc:spChg>
      </pc:sldChg>
    </pc:docChg>
  </pc:docChgLst>
  <pc:docChgLst>
    <pc:chgData name="Gavin Grimm" userId="6c4cb79d-2b23-417c-a733-7dcc36d0b4a1" providerId="ADAL" clId="{917B421D-9BF6-D74B-99A4-9CF77F6E77D7}"/>
    <pc:docChg chg="modSld">
      <pc:chgData name="Gavin Grimm" userId="6c4cb79d-2b23-417c-a733-7dcc36d0b4a1" providerId="ADAL" clId="{917B421D-9BF6-D74B-99A4-9CF77F6E77D7}" dt="2024-10-09T12:22:27.679" v="51" actId="20577"/>
      <pc:docMkLst>
        <pc:docMk/>
      </pc:docMkLst>
      <pc:sldChg chg="modNotesTx">
        <pc:chgData name="Gavin Grimm" userId="6c4cb79d-2b23-417c-a733-7dcc36d0b4a1" providerId="ADAL" clId="{917B421D-9BF6-D74B-99A4-9CF77F6E77D7}" dt="2024-10-09T12:22:27.679" v="51" actId="20577"/>
        <pc:sldMkLst>
          <pc:docMk/>
          <pc:sldMk cId="994611207" sldId="654"/>
        </pc:sldMkLst>
      </pc:sldChg>
    </pc:docChg>
  </pc:docChgLst>
  <pc:docChgLst>
    <pc:chgData name="Aidan Landry" userId="S::ar3landr@uwaterloo.ca::3189a9fb-e89b-4b01-b295-b304ff3fadbb" providerId="AD" clId="Web-{B3291FE1-E3F9-0AE7-BEF0-75B47C14E63B}"/>
    <pc:docChg chg="modSld">
      <pc:chgData name="Aidan Landry" userId="S::ar3landr@uwaterloo.ca::3189a9fb-e89b-4b01-b295-b304ff3fadbb" providerId="AD" clId="Web-{B3291FE1-E3F9-0AE7-BEF0-75B47C14E63B}" dt="2024-11-25T15:55:54.188" v="67" actId="20577"/>
      <pc:docMkLst>
        <pc:docMk/>
      </pc:docMkLst>
      <pc:sldChg chg="addSp delSp modSp">
        <pc:chgData name="Aidan Landry" userId="S::ar3landr@uwaterloo.ca::3189a9fb-e89b-4b01-b295-b304ff3fadbb" providerId="AD" clId="Web-{B3291FE1-E3F9-0AE7-BEF0-75B47C14E63B}" dt="2024-11-25T15:55:34.672" v="61" actId="20577"/>
        <pc:sldMkLst>
          <pc:docMk/>
          <pc:sldMk cId="326362598" sldId="579"/>
        </pc:sldMkLst>
        <pc:spChg chg="mod">
          <ac:chgData name="Aidan Landry" userId="S::ar3landr@uwaterloo.ca::3189a9fb-e89b-4b01-b295-b304ff3fadbb" providerId="AD" clId="Web-{B3291FE1-E3F9-0AE7-BEF0-75B47C14E63B}" dt="2024-11-25T15:53:43.467" v="13" actId="20577"/>
          <ac:spMkLst>
            <pc:docMk/>
            <pc:sldMk cId="326362598" sldId="579"/>
            <ac:spMk id="798" creationId="{1A2D9CAD-706A-5E36-FFFD-2822F5DA7876}"/>
          </ac:spMkLst>
        </pc:spChg>
        <pc:spChg chg="mod">
          <ac:chgData name="Aidan Landry" userId="S::ar3landr@uwaterloo.ca::3189a9fb-e89b-4b01-b295-b304ff3fadbb" providerId="AD" clId="Web-{B3291FE1-E3F9-0AE7-BEF0-75B47C14E63B}" dt="2024-11-25T15:54:38.874" v="37" actId="20577"/>
          <ac:spMkLst>
            <pc:docMk/>
            <pc:sldMk cId="326362598" sldId="579"/>
            <ac:spMk id="801" creationId="{F82AA610-2B09-5601-C3A3-5B8B2E5F35C5}"/>
          </ac:spMkLst>
        </pc:spChg>
        <pc:spChg chg="add del mod">
          <ac:chgData name="Aidan Landry" userId="S::ar3landr@uwaterloo.ca::3189a9fb-e89b-4b01-b295-b304ff3fadbb" providerId="AD" clId="Web-{B3291FE1-E3F9-0AE7-BEF0-75B47C14E63B}" dt="2024-11-25T15:55:34.672" v="61" actId="20577"/>
          <ac:spMkLst>
            <pc:docMk/>
            <pc:sldMk cId="326362598" sldId="579"/>
            <ac:spMk id="804" creationId="{C1A38F07-47D0-7F74-2B4C-CA6A7F73BD5E}"/>
          </ac:spMkLst>
        </pc:spChg>
        <pc:spChg chg="mod">
          <ac:chgData name="Aidan Landry" userId="S::ar3landr@uwaterloo.ca::3189a9fb-e89b-4b01-b295-b304ff3fadbb" providerId="AD" clId="Web-{B3291FE1-E3F9-0AE7-BEF0-75B47C14E63B}" dt="2024-11-25T15:55:28.390" v="56" actId="20577"/>
          <ac:spMkLst>
            <pc:docMk/>
            <pc:sldMk cId="326362598" sldId="579"/>
            <ac:spMk id="807" creationId="{6B17833B-654D-8F9D-D27D-998975499230}"/>
          </ac:spMkLst>
        </pc:spChg>
        <pc:spChg chg="mod">
          <ac:chgData name="Aidan Landry" userId="S::ar3landr@uwaterloo.ca::3189a9fb-e89b-4b01-b295-b304ff3fadbb" providerId="AD" clId="Web-{B3291FE1-E3F9-0AE7-BEF0-75B47C14E63B}" dt="2024-11-25T15:55:14.750" v="54" actId="20577"/>
          <ac:spMkLst>
            <pc:docMk/>
            <pc:sldMk cId="326362598" sldId="579"/>
            <ac:spMk id="810" creationId="{2CBA4727-7EFA-E68D-392F-D8E68EE9DE2E}"/>
          </ac:spMkLst>
        </pc:spChg>
      </pc:sldChg>
      <pc:sldChg chg="modSp">
        <pc:chgData name="Aidan Landry" userId="S::ar3landr@uwaterloo.ca::3189a9fb-e89b-4b01-b295-b304ff3fadbb" providerId="AD" clId="Web-{B3291FE1-E3F9-0AE7-BEF0-75B47C14E63B}" dt="2024-11-25T15:55:54.188" v="67" actId="20577"/>
        <pc:sldMkLst>
          <pc:docMk/>
          <pc:sldMk cId="2459506782" sldId="664"/>
        </pc:sldMkLst>
        <pc:spChg chg="mod">
          <ac:chgData name="Aidan Landry" userId="S::ar3landr@uwaterloo.ca::3189a9fb-e89b-4b01-b295-b304ff3fadbb" providerId="AD" clId="Web-{B3291FE1-E3F9-0AE7-BEF0-75B47C14E63B}" dt="2024-11-25T15:55:54.188" v="67" actId="20577"/>
          <ac:spMkLst>
            <pc:docMk/>
            <pc:sldMk cId="2459506782" sldId="664"/>
            <ac:spMk id="8" creationId="{3E447D12-B3BC-2D6C-1864-FA030F4343F2}"/>
          </ac:spMkLst>
        </pc:spChg>
      </pc:sldChg>
    </pc:docChg>
  </pc:docChgLst>
  <pc:docChgLst>
    <pc:chgData name="Bullinger, Marvin" userId="5b54ce5a-dc89-476f-af33-5abd75d5b1e8" providerId="ADAL" clId="{43B71669-8A80-4333-9349-B258A9296B49}"/>
    <pc:docChg chg="undo custSel addSld delSld modSld sldOrd modMainMaster modSection replTag">
      <pc:chgData name="Bullinger, Marvin" userId="5b54ce5a-dc89-476f-af33-5abd75d5b1e8" providerId="ADAL" clId="{43B71669-8A80-4333-9349-B258A9296B49}" dt="2024-02-27T17:31:57.444" v="7820"/>
      <pc:docMkLst>
        <pc:docMk/>
      </pc:docMkLst>
      <pc:sldChg chg="ord">
        <pc:chgData name="Bullinger, Marvin" userId="5b54ce5a-dc89-476f-af33-5abd75d5b1e8" providerId="ADAL" clId="{43B71669-8A80-4333-9349-B258A9296B49}" dt="2024-02-27T16:53:49.050" v="3382"/>
        <pc:sldMkLst>
          <pc:docMk/>
          <pc:sldMk cId="3596866202" sldId="258"/>
        </pc:sldMkLst>
      </pc:sldChg>
      <pc:sldChg chg="add del ord">
        <pc:chgData name="Bullinger, Marvin" userId="5b54ce5a-dc89-476f-af33-5abd75d5b1e8" providerId="ADAL" clId="{43B71669-8A80-4333-9349-B258A9296B49}" dt="2024-02-27T16:53:49.050" v="3382"/>
        <pc:sldMkLst>
          <pc:docMk/>
          <pc:sldMk cId="1234127743" sldId="261"/>
        </pc:sldMkLst>
      </pc:sldChg>
      <pc:sldChg chg="addSp delSp modSp mod">
        <pc:chgData name="Bullinger, Marvin" userId="5b54ce5a-dc89-476f-af33-5abd75d5b1e8" providerId="ADAL" clId="{43B71669-8A80-4333-9349-B258A9296B49}" dt="2024-02-27T17:29:00.306" v="7794" actId="1076"/>
        <pc:sldMkLst>
          <pc:docMk/>
          <pc:sldMk cId="3664439336" sldId="262"/>
        </pc:sldMkLst>
      </pc:sldChg>
      <pc:sldChg chg="delSp mod ord">
        <pc:chgData name="Bullinger, Marvin" userId="5b54ce5a-dc89-476f-af33-5abd75d5b1e8" providerId="ADAL" clId="{43B71669-8A80-4333-9349-B258A9296B49}" dt="2024-02-27T17:30:41.360" v="7807" actId="478"/>
        <pc:sldMkLst>
          <pc:docMk/>
          <pc:sldMk cId="2953579200" sldId="264"/>
        </pc:sldMkLst>
      </pc:sldChg>
      <pc:sldChg chg="delSp mod ord">
        <pc:chgData name="Bullinger, Marvin" userId="5b54ce5a-dc89-476f-af33-5abd75d5b1e8" providerId="ADAL" clId="{43B71669-8A80-4333-9349-B258A9296B49}" dt="2024-02-27T17:30:44.391" v="7808" actId="478"/>
        <pc:sldMkLst>
          <pc:docMk/>
          <pc:sldMk cId="3656611490" sldId="265"/>
        </pc:sldMkLst>
      </pc:sldChg>
      <pc:sldChg chg="delSp modSp mod ord">
        <pc:chgData name="Bullinger, Marvin" userId="5b54ce5a-dc89-476f-af33-5abd75d5b1e8" providerId="ADAL" clId="{43B71669-8A80-4333-9349-B258A9296B49}" dt="2024-02-27T17:30:59.193" v="7812" actId="478"/>
        <pc:sldMkLst>
          <pc:docMk/>
          <pc:sldMk cId="3814452180" sldId="266"/>
        </pc:sldMkLst>
      </pc:sldChg>
      <pc:sldChg chg="ord">
        <pc:chgData name="Bullinger, Marvin" userId="5b54ce5a-dc89-476f-af33-5abd75d5b1e8" providerId="ADAL" clId="{43B71669-8A80-4333-9349-B258A9296B49}" dt="2024-02-27T16:53:49.050" v="3382"/>
        <pc:sldMkLst>
          <pc:docMk/>
          <pc:sldMk cId="304157022" sldId="540"/>
        </pc:sldMkLst>
      </pc:sldChg>
      <pc:sldChg chg="ord">
        <pc:chgData name="Bullinger, Marvin" userId="5b54ce5a-dc89-476f-af33-5abd75d5b1e8" providerId="ADAL" clId="{43B71669-8A80-4333-9349-B258A9296B49}" dt="2024-02-27T16:53:49.050" v="3382"/>
        <pc:sldMkLst>
          <pc:docMk/>
          <pc:sldMk cId="4137227083" sldId="541"/>
        </pc:sldMkLst>
      </pc:sldChg>
      <pc:sldChg chg="delSp mod ord">
        <pc:chgData name="Bullinger, Marvin" userId="5b54ce5a-dc89-476f-af33-5abd75d5b1e8" providerId="ADAL" clId="{43B71669-8A80-4333-9349-B258A9296B49}" dt="2024-02-27T17:30:48.034" v="7809" actId="478"/>
        <pc:sldMkLst>
          <pc:docMk/>
          <pc:sldMk cId="3450439991" sldId="547"/>
        </pc:sldMkLst>
      </pc:sldChg>
      <pc:sldChg chg="delSp mod ord">
        <pc:chgData name="Bullinger, Marvin" userId="5b54ce5a-dc89-476f-af33-5abd75d5b1e8" providerId="ADAL" clId="{43B71669-8A80-4333-9349-B258A9296B49}" dt="2024-02-27T17:31:01.618" v="7813" actId="478"/>
        <pc:sldMkLst>
          <pc:docMk/>
          <pc:sldMk cId="4287890113" sldId="549"/>
        </pc:sldMkLst>
      </pc:sldChg>
      <pc:sldChg chg="ord">
        <pc:chgData name="Bullinger, Marvin" userId="5b54ce5a-dc89-476f-af33-5abd75d5b1e8" providerId="ADAL" clId="{43B71669-8A80-4333-9349-B258A9296B49}" dt="2024-02-27T16:53:49.050" v="3382"/>
        <pc:sldMkLst>
          <pc:docMk/>
          <pc:sldMk cId="576951194" sldId="551"/>
        </pc:sldMkLst>
      </pc:sldChg>
      <pc:sldChg chg="ord">
        <pc:chgData name="Bullinger, Marvin" userId="5b54ce5a-dc89-476f-af33-5abd75d5b1e8" providerId="ADAL" clId="{43B71669-8A80-4333-9349-B258A9296B49}" dt="2024-02-27T16:53:49.050" v="3382"/>
        <pc:sldMkLst>
          <pc:docMk/>
          <pc:sldMk cId="2820078257" sldId="552"/>
        </pc:sldMkLst>
      </pc:sldChg>
      <pc:sldChg chg="ord">
        <pc:chgData name="Bullinger, Marvin" userId="5b54ce5a-dc89-476f-af33-5abd75d5b1e8" providerId="ADAL" clId="{43B71669-8A80-4333-9349-B258A9296B49}" dt="2024-02-27T16:53:49.050" v="3382"/>
        <pc:sldMkLst>
          <pc:docMk/>
          <pc:sldMk cId="1433165054" sldId="553"/>
        </pc:sldMkLst>
      </pc:sldChg>
      <pc:sldChg chg="ord">
        <pc:chgData name="Bullinger, Marvin" userId="5b54ce5a-dc89-476f-af33-5abd75d5b1e8" providerId="ADAL" clId="{43B71669-8A80-4333-9349-B258A9296B49}" dt="2024-02-27T16:53:49.050" v="3382"/>
        <pc:sldMkLst>
          <pc:docMk/>
          <pc:sldMk cId="3604157687" sldId="554"/>
        </pc:sldMkLst>
      </pc:sldChg>
      <pc:sldChg chg="ord">
        <pc:chgData name="Bullinger, Marvin" userId="5b54ce5a-dc89-476f-af33-5abd75d5b1e8" providerId="ADAL" clId="{43B71669-8A80-4333-9349-B258A9296B49}" dt="2024-02-27T16:53:49.050" v="3382"/>
        <pc:sldMkLst>
          <pc:docMk/>
          <pc:sldMk cId="1915366194" sldId="555"/>
        </pc:sldMkLst>
      </pc:sldChg>
      <pc:sldChg chg="ord">
        <pc:chgData name="Bullinger, Marvin" userId="5b54ce5a-dc89-476f-af33-5abd75d5b1e8" providerId="ADAL" clId="{43B71669-8A80-4333-9349-B258A9296B49}" dt="2024-02-27T16:53:49.050" v="3382"/>
        <pc:sldMkLst>
          <pc:docMk/>
          <pc:sldMk cId="3168591151" sldId="556"/>
        </pc:sldMkLst>
      </pc:sldChg>
      <pc:sldChg chg="ord">
        <pc:chgData name="Bullinger, Marvin" userId="5b54ce5a-dc89-476f-af33-5abd75d5b1e8" providerId="ADAL" clId="{43B71669-8A80-4333-9349-B258A9296B49}" dt="2024-02-27T16:53:49.050" v="3382"/>
        <pc:sldMkLst>
          <pc:docMk/>
          <pc:sldMk cId="4124692515" sldId="557"/>
        </pc:sldMkLst>
      </pc:sldChg>
      <pc:sldChg chg="ord">
        <pc:chgData name="Bullinger, Marvin" userId="5b54ce5a-dc89-476f-af33-5abd75d5b1e8" providerId="ADAL" clId="{43B71669-8A80-4333-9349-B258A9296B49}" dt="2024-02-27T16:53:49.050" v="3382"/>
        <pc:sldMkLst>
          <pc:docMk/>
          <pc:sldMk cId="719841652" sldId="558"/>
        </pc:sldMkLst>
      </pc:sldChg>
      <pc:sldChg chg="ord">
        <pc:chgData name="Bullinger, Marvin" userId="5b54ce5a-dc89-476f-af33-5abd75d5b1e8" providerId="ADAL" clId="{43B71669-8A80-4333-9349-B258A9296B49}" dt="2024-02-27T16:53:49.050" v="3382"/>
        <pc:sldMkLst>
          <pc:docMk/>
          <pc:sldMk cId="4188208450" sldId="559"/>
        </pc:sldMkLst>
      </pc:sldChg>
      <pc:sldChg chg="ord">
        <pc:chgData name="Bullinger, Marvin" userId="5b54ce5a-dc89-476f-af33-5abd75d5b1e8" providerId="ADAL" clId="{43B71669-8A80-4333-9349-B258A9296B49}" dt="2024-02-27T16:53:49.050" v="3382"/>
        <pc:sldMkLst>
          <pc:docMk/>
          <pc:sldMk cId="789104344" sldId="560"/>
        </pc:sldMkLst>
      </pc:sldChg>
      <pc:sldChg chg="ord">
        <pc:chgData name="Bullinger, Marvin" userId="5b54ce5a-dc89-476f-af33-5abd75d5b1e8" providerId="ADAL" clId="{43B71669-8A80-4333-9349-B258A9296B49}" dt="2024-02-27T16:53:49.050" v="3382"/>
        <pc:sldMkLst>
          <pc:docMk/>
          <pc:sldMk cId="599911799" sldId="561"/>
        </pc:sldMkLst>
      </pc:sldChg>
      <pc:sldChg chg="ord">
        <pc:chgData name="Bullinger, Marvin" userId="5b54ce5a-dc89-476f-af33-5abd75d5b1e8" providerId="ADAL" clId="{43B71669-8A80-4333-9349-B258A9296B49}" dt="2024-02-27T16:53:49.050" v="3382"/>
        <pc:sldMkLst>
          <pc:docMk/>
          <pc:sldMk cId="2083976492" sldId="562"/>
        </pc:sldMkLst>
      </pc:sldChg>
      <pc:sldChg chg="ord">
        <pc:chgData name="Bullinger, Marvin" userId="5b54ce5a-dc89-476f-af33-5abd75d5b1e8" providerId="ADAL" clId="{43B71669-8A80-4333-9349-B258A9296B49}" dt="2024-02-27T16:53:49.050" v="3382"/>
        <pc:sldMkLst>
          <pc:docMk/>
          <pc:sldMk cId="1390316162" sldId="563"/>
        </pc:sldMkLst>
      </pc:sldChg>
      <pc:sldChg chg="ord">
        <pc:chgData name="Bullinger, Marvin" userId="5b54ce5a-dc89-476f-af33-5abd75d5b1e8" providerId="ADAL" clId="{43B71669-8A80-4333-9349-B258A9296B49}" dt="2024-02-27T16:53:49.050" v="3382"/>
        <pc:sldMkLst>
          <pc:docMk/>
          <pc:sldMk cId="1340428863" sldId="564"/>
        </pc:sldMkLst>
      </pc:sldChg>
      <pc:sldChg chg="ord">
        <pc:chgData name="Bullinger, Marvin" userId="5b54ce5a-dc89-476f-af33-5abd75d5b1e8" providerId="ADAL" clId="{43B71669-8A80-4333-9349-B258A9296B49}" dt="2024-02-27T16:53:49.050" v="3382"/>
        <pc:sldMkLst>
          <pc:docMk/>
          <pc:sldMk cId="1496753174" sldId="566"/>
        </pc:sldMkLst>
      </pc:sldChg>
      <pc:sldChg chg="ord">
        <pc:chgData name="Bullinger, Marvin" userId="5b54ce5a-dc89-476f-af33-5abd75d5b1e8" providerId="ADAL" clId="{43B71669-8A80-4333-9349-B258A9296B49}" dt="2024-02-27T16:53:49.050" v="3382"/>
        <pc:sldMkLst>
          <pc:docMk/>
          <pc:sldMk cId="2695844911" sldId="567"/>
        </pc:sldMkLst>
      </pc:sldChg>
      <pc:sldChg chg="ord">
        <pc:chgData name="Bullinger, Marvin" userId="5b54ce5a-dc89-476f-af33-5abd75d5b1e8" providerId="ADAL" clId="{43B71669-8A80-4333-9349-B258A9296B49}" dt="2024-02-27T16:53:49.050" v="3382"/>
        <pc:sldMkLst>
          <pc:docMk/>
          <pc:sldMk cId="382819080" sldId="568"/>
        </pc:sldMkLst>
      </pc:sldChg>
      <pc:sldChg chg="ord">
        <pc:chgData name="Bullinger, Marvin" userId="5b54ce5a-dc89-476f-af33-5abd75d5b1e8" providerId="ADAL" clId="{43B71669-8A80-4333-9349-B258A9296B49}" dt="2024-02-27T16:53:49.050" v="3382"/>
        <pc:sldMkLst>
          <pc:docMk/>
          <pc:sldMk cId="1525964500" sldId="569"/>
        </pc:sldMkLst>
      </pc:sldChg>
      <pc:sldChg chg="ord">
        <pc:chgData name="Bullinger, Marvin" userId="5b54ce5a-dc89-476f-af33-5abd75d5b1e8" providerId="ADAL" clId="{43B71669-8A80-4333-9349-B258A9296B49}" dt="2024-02-27T16:53:49.050" v="3382"/>
        <pc:sldMkLst>
          <pc:docMk/>
          <pc:sldMk cId="344116882" sldId="570"/>
        </pc:sldMkLst>
      </pc:sldChg>
      <pc:sldChg chg="ord">
        <pc:chgData name="Bullinger, Marvin" userId="5b54ce5a-dc89-476f-af33-5abd75d5b1e8" providerId="ADAL" clId="{43B71669-8A80-4333-9349-B258A9296B49}" dt="2024-02-27T16:53:49.050" v="3382"/>
        <pc:sldMkLst>
          <pc:docMk/>
          <pc:sldMk cId="1413071935" sldId="572"/>
        </pc:sldMkLst>
      </pc:sldChg>
      <pc:sldChg chg="ord">
        <pc:chgData name="Bullinger, Marvin" userId="5b54ce5a-dc89-476f-af33-5abd75d5b1e8" providerId="ADAL" clId="{43B71669-8A80-4333-9349-B258A9296B49}" dt="2024-02-27T16:53:49.050" v="3382"/>
        <pc:sldMkLst>
          <pc:docMk/>
          <pc:sldMk cId="240855694" sldId="573"/>
        </pc:sldMkLst>
      </pc:sldChg>
      <pc:sldChg chg="addSp delSp modSp add del mod ord modTransition">
        <pc:chgData name="Bullinger, Marvin" userId="5b54ce5a-dc89-476f-af33-5abd75d5b1e8" providerId="ADAL" clId="{43B71669-8A80-4333-9349-B258A9296B49}" dt="2024-02-27T17:27:36.114" v="6826" actId="2696"/>
        <pc:sldMkLst>
          <pc:docMk/>
          <pc:sldMk cId="1341913498" sldId="578"/>
        </pc:sldMkLst>
      </pc:sldChg>
      <pc:sldChg chg="addSp delSp modSp mod ord modTransition">
        <pc:chgData name="Bullinger, Marvin" userId="5b54ce5a-dc89-476f-af33-5abd75d5b1e8" providerId="ADAL" clId="{43B71669-8A80-4333-9349-B258A9296B49}" dt="2024-02-27T17:30:52.327" v="7810" actId="478"/>
        <pc:sldMkLst>
          <pc:docMk/>
          <pc:sldMk cId="459806595" sldId="580"/>
        </pc:sldMkLst>
      </pc:sldChg>
      <pc:sldChg chg="addSp delSp modSp mod ord modTransition">
        <pc:chgData name="Bullinger, Marvin" userId="5b54ce5a-dc89-476f-af33-5abd75d5b1e8" providerId="ADAL" clId="{43B71669-8A80-4333-9349-B258A9296B49}" dt="2024-02-27T17:27:37.961" v="7564"/>
        <pc:sldMkLst>
          <pc:docMk/>
          <pc:sldMk cId="965765845" sldId="581"/>
        </pc:sldMkLst>
      </pc:sldChg>
      <pc:sldChg chg="addSp delSp modSp mod ord modTransition">
        <pc:chgData name="Bullinger, Marvin" userId="5b54ce5a-dc89-476f-af33-5abd75d5b1e8" providerId="ADAL" clId="{43B71669-8A80-4333-9349-B258A9296B49}" dt="2024-02-27T17:27:38.118" v="7625"/>
        <pc:sldMkLst>
          <pc:docMk/>
          <pc:sldMk cId="1945724814" sldId="582"/>
        </pc:sldMkLst>
      </pc:sldChg>
      <pc:sldChg chg="addSp delSp modSp mod ord modTransition">
        <pc:chgData name="Bullinger, Marvin" userId="5b54ce5a-dc89-476f-af33-5abd75d5b1e8" providerId="ADAL" clId="{43B71669-8A80-4333-9349-B258A9296B49}" dt="2024-02-27T17:27:38.241" v="7686"/>
        <pc:sldMkLst>
          <pc:docMk/>
          <pc:sldMk cId="2423218208" sldId="583"/>
        </pc:sldMkLst>
      </pc:sldChg>
      <pc:sldChg chg="addSp delSp modSp add del mod ord">
        <pc:chgData name="Bullinger, Marvin" userId="5b54ce5a-dc89-476f-af33-5abd75d5b1e8" providerId="ADAL" clId="{43B71669-8A80-4333-9349-B258A9296B49}" dt="2024-02-27T17:30:37.635" v="7806" actId="478"/>
        <pc:sldMkLst>
          <pc:docMk/>
          <pc:sldMk cId="1339647628" sldId="586"/>
        </pc:sldMkLst>
      </pc:sldChg>
      <pc:sldChg chg="delSp modSp del mod">
        <pc:chgData name="Bullinger, Marvin" userId="5b54ce5a-dc89-476f-af33-5abd75d5b1e8" providerId="ADAL" clId="{43B71669-8A80-4333-9349-B258A9296B49}" dt="2024-02-27T17:21:08.809" v="4330" actId="2696"/>
        <pc:sldMkLst>
          <pc:docMk/>
          <pc:sldMk cId="7568364" sldId="587"/>
        </pc:sldMkLst>
      </pc:sldChg>
      <pc:sldChg chg="delSp modSp del mod">
        <pc:chgData name="Bullinger, Marvin" userId="5b54ce5a-dc89-476f-af33-5abd75d5b1e8" providerId="ADAL" clId="{43B71669-8A80-4333-9349-B258A9296B49}" dt="2024-02-27T16:45:50.723" v="1020" actId="2696"/>
        <pc:sldMkLst>
          <pc:docMk/>
          <pc:sldMk cId="884871466" sldId="587"/>
        </pc:sldMkLst>
      </pc:sldChg>
      <pc:sldChg chg="del">
        <pc:chgData name="Bullinger, Marvin" userId="5b54ce5a-dc89-476f-af33-5abd75d5b1e8" providerId="ADAL" clId="{43B71669-8A80-4333-9349-B258A9296B49}" dt="2024-02-27T16:45:50.723" v="1017" actId="2696"/>
        <pc:sldMkLst>
          <pc:docMk/>
          <pc:sldMk cId="683180748" sldId="588"/>
        </pc:sldMkLst>
      </pc:sldChg>
      <pc:sldChg chg="del">
        <pc:chgData name="Bullinger, Marvin" userId="5b54ce5a-dc89-476f-af33-5abd75d5b1e8" providerId="ADAL" clId="{43B71669-8A80-4333-9349-B258A9296B49}" dt="2024-02-27T17:21:08.809" v="4327" actId="2696"/>
        <pc:sldMkLst>
          <pc:docMk/>
          <pc:sldMk cId="976721441" sldId="588"/>
        </pc:sldMkLst>
      </pc:sldChg>
      <pc:sldChg chg="del">
        <pc:chgData name="Bullinger, Marvin" userId="5b54ce5a-dc89-476f-af33-5abd75d5b1e8" providerId="ADAL" clId="{43B71669-8A80-4333-9349-B258A9296B49}" dt="2024-02-27T16:45:50.707" v="1016" actId="2696"/>
        <pc:sldMkLst>
          <pc:docMk/>
          <pc:sldMk cId="99068889" sldId="589"/>
        </pc:sldMkLst>
      </pc:sldChg>
      <pc:sldChg chg="del">
        <pc:chgData name="Bullinger, Marvin" userId="5b54ce5a-dc89-476f-af33-5abd75d5b1e8" providerId="ADAL" clId="{43B71669-8A80-4333-9349-B258A9296B49}" dt="2024-02-27T17:21:08.793" v="4326" actId="2696"/>
        <pc:sldMkLst>
          <pc:docMk/>
          <pc:sldMk cId="2588143715" sldId="589"/>
        </pc:sldMkLst>
      </pc:sldChg>
      <pc:sldChg chg="addSp delSp modSp del mod ord replTag">
        <pc:chgData name="Bullinger, Marvin" userId="5b54ce5a-dc89-476f-af33-5abd75d5b1e8" providerId="ADAL" clId="{43B71669-8A80-4333-9349-B258A9296B49}" dt="2024-02-27T16:56:30.589" v="3389" actId="47"/>
        <pc:sldMkLst>
          <pc:docMk/>
          <pc:sldMk cId="65447628" sldId="590"/>
        </pc:sldMkLst>
      </pc:sldChg>
      <pc:sldChg chg="addSp delSp modSp mod replTag">
        <pc:chgData name="Bullinger, Marvin" userId="5b54ce5a-dc89-476f-af33-5abd75d5b1e8" providerId="ADAL" clId="{43B71669-8A80-4333-9349-B258A9296B49}" dt="2024-02-27T17:27:38.355" v="7745"/>
        <pc:sldMkLst>
          <pc:docMk/>
          <pc:sldMk cId="2468756552" sldId="590"/>
        </pc:sldMkLst>
      </pc:sldChg>
      <pc:sldChg chg="addSp delSp modSp add del mod">
        <pc:chgData name="Bullinger, Marvin" userId="5b54ce5a-dc89-476f-af33-5abd75d5b1e8" providerId="ADAL" clId="{43B71669-8A80-4333-9349-B258A9296B49}" dt="2024-02-27T16:53:49.050" v="3382"/>
        <pc:sldMkLst>
          <pc:docMk/>
          <pc:sldMk cId="243418816" sldId="591"/>
        </pc:sldMkLst>
      </pc:sldChg>
      <pc:sldChg chg="delSp modSp del mod">
        <pc:chgData name="Bullinger, Marvin" userId="5b54ce5a-dc89-476f-af33-5abd75d5b1e8" providerId="ADAL" clId="{43B71669-8A80-4333-9349-B258A9296B49}" dt="2024-02-27T16:46:20.979" v="1798" actId="2696"/>
        <pc:sldMkLst>
          <pc:docMk/>
          <pc:sldMk cId="1752096405" sldId="591"/>
        </pc:sldMkLst>
      </pc:sldChg>
      <pc:sldChg chg="addSp delSp modSp mod replTag">
        <pc:chgData name="Bullinger, Marvin" userId="5b54ce5a-dc89-476f-af33-5abd75d5b1e8" providerId="ADAL" clId="{43B71669-8A80-4333-9349-B258A9296B49}" dt="2024-02-27T17:27:38.429" v="7785" actId="20577"/>
        <pc:sldMkLst>
          <pc:docMk/>
          <pc:sldMk cId="3574513803" sldId="591"/>
        </pc:sldMkLst>
      </pc:sldChg>
      <pc:sldChg chg="addSp delSp modSp new add del mod modClrScheme chgLayout">
        <pc:chgData name="Bullinger, Marvin" userId="5b54ce5a-dc89-476f-af33-5abd75d5b1e8" providerId="ADAL" clId="{43B71669-8A80-4333-9349-B258A9296B49}" dt="2024-02-27T16:53:45.144" v="2601" actId="680"/>
        <pc:sldMkLst>
          <pc:docMk/>
          <pc:sldMk cId="3939108022" sldId="591"/>
        </pc:sldMkLst>
      </pc:sldChg>
      <pc:sldChg chg="delSp modSp del mod">
        <pc:chgData name="Bullinger, Marvin" userId="5b54ce5a-dc89-476f-af33-5abd75d5b1e8" providerId="ADAL" clId="{43B71669-8A80-4333-9349-B258A9296B49}" dt="2024-02-27T17:26:25.513" v="5661" actId="2696"/>
        <pc:sldMkLst>
          <pc:docMk/>
          <pc:sldMk cId="105158186" sldId="592"/>
        </pc:sldMkLst>
      </pc:sldChg>
      <pc:sldChg chg="del">
        <pc:chgData name="Bullinger, Marvin" userId="5b54ce5a-dc89-476f-af33-5abd75d5b1e8" providerId="ADAL" clId="{43B71669-8A80-4333-9349-B258A9296B49}" dt="2024-02-27T16:46:20.969" v="1795" actId="2696"/>
        <pc:sldMkLst>
          <pc:docMk/>
          <pc:sldMk cId="408257011" sldId="592"/>
        </pc:sldMkLst>
      </pc:sldChg>
      <pc:sldChg chg="addSp add del">
        <pc:chgData name="Bullinger, Marvin" userId="5b54ce5a-dc89-476f-af33-5abd75d5b1e8" providerId="ADAL" clId="{43B71669-8A80-4333-9349-B258A9296B49}" dt="2024-02-27T16:53:49.050" v="3382"/>
        <pc:sldMkLst>
          <pc:docMk/>
          <pc:sldMk cId="1778971240" sldId="592"/>
        </pc:sldMkLst>
      </pc:sldChg>
      <pc:sldChg chg="del">
        <pc:chgData name="Bullinger, Marvin" userId="5b54ce5a-dc89-476f-af33-5abd75d5b1e8" providerId="ADAL" clId="{43B71669-8A80-4333-9349-B258A9296B49}" dt="2024-02-27T16:46:20.969" v="1794" actId="2696"/>
        <pc:sldMkLst>
          <pc:docMk/>
          <pc:sldMk cId="137798345" sldId="593"/>
        </pc:sldMkLst>
      </pc:sldChg>
      <pc:sldChg chg="addSp add del">
        <pc:chgData name="Bullinger, Marvin" userId="5b54ce5a-dc89-476f-af33-5abd75d5b1e8" providerId="ADAL" clId="{43B71669-8A80-4333-9349-B258A9296B49}" dt="2024-02-27T16:53:49.050" v="3382"/>
        <pc:sldMkLst>
          <pc:docMk/>
          <pc:sldMk cId="1252089272" sldId="593"/>
        </pc:sldMkLst>
      </pc:sldChg>
      <pc:sldChg chg="del">
        <pc:chgData name="Bullinger, Marvin" userId="5b54ce5a-dc89-476f-af33-5abd75d5b1e8" providerId="ADAL" clId="{43B71669-8A80-4333-9349-B258A9296B49}" dt="2024-02-27T17:26:25.513" v="5658" actId="2696"/>
        <pc:sldMkLst>
          <pc:docMk/>
          <pc:sldMk cId="2213773119" sldId="593"/>
        </pc:sldMkLst>
      </pc:sldChg>
      <pc:sldChg chg="del">
        <pc:chgData name="Bullinger, Marvin" userId="5b54ce5a-dc89-476f-af33-5abd75d5b1e8" providerId="ADAL" clId="{43B71669-8A80-4333-9349-B258A9296B49}" dt="2024-02-27T17:26:25.513" v="5657" actId="2696"/>
        <pc:sldMkLst>
          <pc:docMk/>
          <pc:sldMk cId="2287144949" sldId="594"/>
        </pc:sldMkLst>
      </pc:sldChg>
      <pc:sldChg chg="addSp delSp modSp mod replTag">
        <pc:chgData name="Bullinger, Marvin" userId="5b54ce5a-dc89-476f-af33-5abd75d5b1e8" providerId="ADAL" clId="{43B71669-8A80-4333-9349-B258A9296B49}" dt="2024-02-27T17:27:37.834" v="7503"/>
        <pc:sldMkLst>
          <pc:docMk/>
          <pc:sldMk cId="4264639648" sldId="595"/>
        </pc:sldMkLst>
      </pc:sldChg>
      <pc:sldChg chg="delSp modSp del mod replTag">
        <pc:chgData name="Bullinger, Marvin" userId="5b54ce5a-dc89-476f-af33-5abd75d5b1e8" providerId="ADAL" clId="{43B71669-8A80-4333-9349-B258A9296B49}" dt="2024-02-27T17:26:58.329" v="5663" actId="2696"/>
        <pc:sldMkLst>
          <pc:docMk/>
          <pc:sldMk cId="3200844942" sldId="596"/>
        </pc:sldMkLst>
      </pc:sldChg>
      <pc:sldChg chg="delSp modSp del mod">
        <pc:chgData name="Bullinger, Marvin" userId="5b54ce5a-dc89-476f-af33-5abd75d5b1e8" providerId="ADAL" clId="{43B71669-8A80-4333-9349-B258A9296B49}" dt="2024-02-27T17:27:01.081" v="6824" actId="2696"/>
        <pc:sldMkLst>
          <pc:docMk/>
          <pc:sldMk cId="3908895894" sldId="596"/>
        </pc:sldMkLst>
      </pc:sldChg>
      <pc:sldChg chg="delSp modSp del mod">
        <pc:chgData name="Bullinger, Marvin" userId="5b54ce5a-dc89-476f-af33-5abd75d5b1e8" providerId="ADAL" clId="{43B71669-8A80-4333-9349-B258A9296B49}" dt="2024-02-27T17:27:38.447" v="7790" actId="2696"/>
        <pc:sldMkLst>
          <pc:docMk/>
          <pc:sldMk cId="4094557416" sldId="596"/>
        </pc:sldMkLst>
      </pc:sldChg>
      <pc:sldChg chg="del">
        <pc:chgData name="Bullinger, Marvin" userId="5b54ce5a-dc89-476f-af33-5abd75d5b1e8" providerId="ADAL" clId="{43B71669-8A80-4333-9349-B258A9296B49}" dt="2024-02-27T17:27:38.439" v="7787" actId="2696"/>
        <pc:sldMkLst>
          <pc:docMk/>
          <pc:sldMk cId="2581602741" sldId="597"/>
        </pc:sldMkLst>
      </pc:sldChg>
      <pc:sldChg chg="del">
        <pc:chgData name="Bullinger, Marvin" userId="5b54ce5a-dc89-476f-af33-5abd75d5b1e8" providerId="ADAL" clId="{43B71669-8A80-4333-9349-B258A9296B49}" dt="2024-02-27T17:27:01.065" v="6821" actId="2696"/>
        <pc:sldMkLst>
          <pc:docMk/>
          <pc:sldMk cId="4237987895" sldId="597"/>
        </pc:sldMkLst>
      </pc:sldChg>
      <pc:sldChg chg="del">
        <pc:chgData name="Bullinger, Marvin" userId="5b54ce5a-dc89-476f-af33-5abd75d5b1e8" providerId="ADAL" clId="{43B71669-8A80-4333-9349-B258A9296B49}" dt="2024-02-27T17:27:01.065" v="6820" actId="2696"/>
        <pc:sldMkLst>
          <pc:docMk/>
          <pc:sldMk cId="1320744294" sldId="598"/>
        </pc:sldMkLst>
      </pc:sldChg>
      <pc:sldChg chg="del">
        <pc:chgData name="Bullinger, Marvin" userId="5b54ce5a-dc89-476f-af33-5abd75d5b1e8" providerId="ADAL" clId="{43B71669-8A80-4333-9349-B258A9296B49}" dt="2024-02-27T17:27:38.439" v="7786" actId="2696"/>
        <pc:sldMkLst>
          <pc:docMk/>
          <pc:sldMk cId="2089675849" sldId="598"/>
        </pc:sldMkLst>
      </pc:sldChg>
      <pc:sldMasterChg chg="delSp modSp mod modSldLayout">
        <pc:chgData name="Bullinger, Marvin" userId="5b54ce5a-dc89-476f-af33-5abd75d5b1e8" providerId="ADAL" clId="{43B71669-8A80-4333-9349-B258A9296B49}" dt="2024-02-27T17:31:57.444" v="7820"/>
        <pc:sldMasterMkLst>
          <pc:docMk/>
          <pc:sldMasterMk cId="2846167297" sldId="2147483677"/>
        </pc:sldMasterMkLst>
        <pc:sldLayoutChg chg="addSp delSp modSp mod">
          <pc:chgData name="Bullinger, Marvin" userId="5b54ce5a-dc89-476f-af33-5abd75d5b1e8" providerId="ADAL" clId="{43B71669-8A80-4333-9349-B258A9296B49}" dt="2024-02-27T17:31:44.858" v="7816"/>
          <pc:sldLayoutMkLst>
            <pc:docMk/>
            <pc:sldMasterMk cId="2846167297" sldId="2147483677"/>
            <pc:sldLayoutMk cId="2552064348" sldId="2147483679"/>
          </pc:sldLayoutMkLst>
        </pc:sldLayoutChg>
        <pc:sldLayoutChg chg="addSp delSp modSp mod">
          <pc:chgData name="Bullinger, Marvin" userId="5b54ce5a-dc89-476f-af33-5abd75d5b1e8" providerId="ADAL" clId="{43B71669-8A80-4333-9349-B258A9296B49}" dt="2024-02-27T17:31:47.960" v="7818"/>
          <pc:sldLayoutMkLst>
            <pc:docMk/>
            <pc:sldMasterMk cId="2846167297" sldId="2147483677"/>
            <pc:sldLayoutMk cId="3747579019" sldId="2147483680"/>
          </pc:sldLayoutMkLst>
        </pc:sldLayoutChg>
        <pc:sldLayoutChg chg="addSp delSp modSp mod">
          <pc:chgData name="Bullinger, Marvin" userId="5b54ce5a-dc89-476f-af33-5abd75d5b1e8" providerId="ADAL" clId="{43B71669-8A80-4333-9349-B258A9296B49}" dt="2024-02-27T17:31:57.444" v="7820"/>
          <pc:sldLayoutMkLst>
            <pc:docMk/>
            <pc:sldMasterMk cId="2846167297" sldId="2147483677"/>
            <pc:sldLayoutMk cId="4238673067" sldId="2147483685"/>
          </pc:sldLayoutMkLst>
        </pc:sldLayoutChg>
        <pc:sldLayoutChg chg="delSp mod">
          <pc:chgData name="Bullinger, Marvin" userId="5b54ce5a-dc89-476f-af33-5abd75d5b1e8" providerId="ADAL" clId="{43B71669-8A80-4333-9349-B258A9296B49}" dt="2024-02-27T17:29:33.830" v="7795" actId="478"/>
          <pc:sldLayoutMkLst>
            <pc:docMk/>
            <pc:sldMasterMk cId="2846167297" sldId="2147483677"/>
            <pc:sldLayoutMk cId="385462658" sldId="2147483692"/>
          </pc:sldLayoutMkLst>
        </pc:sldLayoutChg>
        <pc:sldLayoutChg chg="delSp mod">
          <pc:chgData name="Bullinger, Marvin" userId="5b54ce5a-dc89-476f-af33-5abd75d5b1e8" providerId="ADAL" clId="{43B71669-8A80-4333-9349-B258A9296B49}" dt="2024-02-27T17:29:37.760" v="7796" actId="478"/>
          <pc:sldLayoutMkLst>
            <pc:docMk/>
            <pc:sldMasterMk cId="2846167297" sldId="2147483677"/>
            <pc:sldLayoutMk cId="3679179703" sldId="2147483693"/>
          </pc:sldLayoutMkLst>
        </pc:sldLayoutChg>
        <pc:sldLayoutChg chg="delSp mod">
          <pc:chgData name="Bullinger, Marvin" userId="5b54ce5a-dc89-476f-af33-5abd75d5b1e8" providerId="ADAL" clId="{43B71669-8A80-4333-9349-B258A9296B49}" dt="2024-02-27T17:29:40.495" v="7797" actId="478"/>
          <pc:sldLayoutMkLst>
            <pc:docMk/>
            <pc:sldMasterMk cId="2846167297" sldId="2147483677"/>
            <pc:sldLayoutMk cId="2312973752" sldId="2147483694"/>
          </pc:sldLayoutMkLst>
        </pc:sldLayoutChg>
        <pc:sldLayoutChg chg="delSp mod">
          <pc:chgData name="Bullinger, Marvin" userId="5b54ce5a-dc89-476f-af33-5abd75d5b1e8" providerId="ADAL" clId="{43B71669-8A80-4333-9349-B258A9296B49}" dt="2024-02-27T17:29:43.831" v="7798" actId="478"/>
          <pc:sldLayoutMkLst>
            <pc:docMk/>
            <pc:sldMasterMk cId="2846167297" sldId="2147483677"/>
            <pc:sldLayoutMk cId="1549983273" sldId="2147483695"/>
          </pc:sldLayoutMkLst>
        </pc:sldLayoutChg>
        <pc:sldLayoutChg chg="delSp mod">
          <pc:chgData name="Bullinger, Marvin" userId="5b54ce5a-dc89-476f-af33-5abd75d5b1e8" providerId="ADAL" clId="{43B71669-8A80-4333-9349-B258A9296B49}" dt="2024-02-27T17:29:46.147" v="7799" actId="478"/>
          <pc:sldLayoutMkLst>
            <pc:docMk/>
            <pc:sldMasterMk cId="2846167297" sldId="2147483677"/>
            <pc:sldLayoutMk cId="2770870414" sldId="2147483696"/>
          </pc:sldLayoutMkLst>
        </pc:sldLayoutChg>
        <pc:sldLayoutChg chg="delSp mod">
          <pc:chgData name="Bullinger, Marvin" userId="5b54ce5a-dc89-476f-af33-5abd75d5b1e8" providerId="ADAL" clId="{43B71669-8A80-4333-9349-B258A9296B49}" dt="2024-02-27T17:29:49.801" v="7800" actId="478"/>
          <pc:sldLayoutMkLst>
            <pc:docMk/>
            <pc:sldMasterMk cId="2846167297" sldId="2147483677"/>
            <pc:sldLayoutMk cId="291581444" sldId="2147483697"/>
          </pc:sldLayoutMkLst>
        </pc:sldLayoutChg>
        <pc:sldLayoutChg chg="delSp mod">
          <pc:chgData name="Bullinger, Marvin" userId="5b54ce5a-dc89-476f-af33-5abd75d5b1e8" providerId="ADAL" clId="{43B71669-8A80-4333-9349-B258A9296B49}" dt="2024-02-27T17:29:52.864" v="7801" actId="478"/>
          <pc:sldLayoutMkLst>
            <pc:docMk/>
            <pc:sldMasterMk cId="2846167297" sldId="2147483677"/>
            <pc:sldLayoutMk cId="966153287" sldId="2147483698"/>
          </pc:sldLayoutMkLst>
        </pc:sldLayoutChg>
        <pc:sldLayoutChg chg="delSp mod">
          <pc:chgData name="Bullinger, Marvin" userId="5b54ce5a-dc89-476f-af33-5abd75d5b1e8" providerId="ADAL" clId="{43B71669-8A80-4333-9349-B258A9296B49}" dt="2024-02-27T17:29:56.670" v="7802" actId="478"/>
          <pc:sldLayoutMkLst>
            <pc:docMk/>
            <pc:sldMasterMk cId="2846167297" sldId="2147483677"/>
            <pc:sldLayoutMk cId="456637673" sldId="2147483699"/>
          </pc:sldLayoutMkLst>
        </pc:sldLayoutChg>
        <pc:sldLayoutChg chg="delSp mod">
          <pc:chgData name="Bullinger, Marvin" userId="5b54ce5a-dc89-476f-af33-5abd75d5b1e8" providerId="ADAL" clId="{43B71669-8A80-4333-9349-B258A9296B49}" dt="2024-02-27T17:30:02.180" v="7803" actId="478"/>
          <pc:sldLayoutMkLst>
            <pc:docMk/>
            <pc:sldMasterMk cId="2846167297" sldId="2147483677"/>
            <pc:sldLayoutMk cId="489594367" sldId="2147483700"/>
          </pc:sldLayoutMkLst>
        </pc:sldLayoutChg>
        <pc:sldLayoutChg chg="addSp delSp modSp mod">
          <pc:chgData name="Bullinger, Marvin" userId="5b54ce5a-dc89-476f-af33-5abd75d5b1e8" providerId="ADAL" clId="{43B71669-8A80-4333-9349-B258A9296B49}" dt="2024-02-27T16:37:47.538" v="135" actId="1076"/>
          <pc:sldLayoutMkLst>
            <pc:docMk/>
            <pc:sldMasterMk cId="2846167297" sldId="2147483677"/>
            <pc:sldLayoutMk cId="816259686" sldId="2147483701"/>
          </pc:sldLayoutMkLst>
        </pc:sldLayoutChg>
        <pc:sldLayoutChg chg="modSp mod">
          <pc:chgData name="Bullinger, Marvin" userId="5b54ce5a-dc89-476f-af33-5abd75d5b1e8" providerId="ADAL" clId="{43B71669-8A80-4333-9349-B258A9296B49}" dt="2024-02-27T16:33:02.033" v="57" actId="20577"/>
          <pc:sldLayoutMkLst>
            <pc:docMk/>
            <pc:sldMasterMk cId="2846167297" sldId="2147483677"/>
            <pc:sldLayoutMk cId="32916434" sldId="2147483703"/>
          </pc:sldLayoutMkLst>
        </pc:sldLayoutChg>
        <pc:sldLayoutChg chg="modSp mod">
          <pc:chgData name="Bullinger, Marvin" userId="5b54ce5a-dc89-476f-af33-5abd75d5b1e8" providerId="ADAL" clId="{43B71669-8A80-4333-9349-B258A9296B49}" dt="2024-02-27T16:33:19.715" v="64" actId="20577"/>
          <pc:sldLayoutMkLst>
            <pc:docMk/>
            <pc:sldMasterMk cId="2846167297" sldId="2147483677"/>
            <pc:sldLayoutMk cId="153056362" sldId="2147483706"/>
          </pc:sldLayoutMkLst>
        </pc:sldLayoutChg>
        <pc:sldLayoutChg chg="delSp mod">
          <pc:chgData name="Bullinger, Marvin" userId="5b54ce5a-dc89-476f-af33-5abd75d5b1e8" providerId="ADAL" clId="{43B71669-8A80-4333-9349-B258A9296B49}" dt="2024-02-27T17:30:18.114" v="7804" actId="478"/>
          <pc:sldLayoutMkLst>
            <pc:docMk/>
            <pc:sldMasterMk cId="2846167297" sldId="2147483677"/>
            <pc:sldLayoutMk cId="1202489794" sldId="2147483707"/>
          </pc:sldLayoutMkLst>
        </pc:sldLayoutChg>
      </pc:sldMasterChg>
    </pc:docChg>
  </pc:docChgLst>
  <pc:docChgLst>
    <pc:chgData name="Gavin Grimm" userId="6c4cb79d-2b23-417c-a733-7dcc36d0b4a1" providerId="ADAL" clId="{7E428355-CFFC-448A-A231-5C3608936EB1}"/>
    <pc:docChg chg="custSel modSld">
      <pc:chgData name="Gavin Grimm" userId="6c4cb79d-2b23-417c-a733-7dcc36d0b4a1" providerId="ADAL" clId="{7E428355-CFFC-448A-A231-5C3608936EB1}" dt="2024-10-09T12:14:20.094" v="1107" actId="20577"/>
      <pc:docMkLst>
        <pc:docMk/>
      </pc:docMkLst>
      <pc:sldChg chg="modSp mod modAnim modNotesTx">
        <pc:chgData name="Gavin Grimm" userId="6c4cb79d-2b23-417c-a733-7dcc36d0b4a1" providerId="ADAL" clId="{7E428355-CFFC-448A-A231-5C3608936EB1}" dt="2024-10-09T12:14:20.094" v="1107" actId="20577"/>
        <pc:sldMkLst>
          <pc:docMk/>
          <pc:sldMk cId="994611207" sldId="654"/>
        </pc:sldMkLst>
      </pc:sldChg>
      <pc:sldChg chg="modNotesTx">
        <pc:chgData name="Gavin Grimm" userId="6c4cb79d-2b23-417c-a733-7dcc36d0b4a1" providerId="ADAL" clId="{7E428355-CFFC-448A-A231-5C3608936EB1}" dt="2024-10-08T18:13:30.961" v="1095" actId="20577"/>
        <pc:sldMkLst>
          <pc:docMk/>
          <pc:sldMk cId="1274719457" sldId="657"/>
        </pc:sldMkLst>
      </pc:sldChg>
    </pc:docChg>
  </pc:docChgLst>
  <pc:docChgLst>
    <pc:chgData name="Leo Xing" userId="S::l7xing@uwaterloo.ca::092ea61f-c2f3-4c9c-8a83-cb04ba707769" providerId="AD" clId="Web-{456A06FB-9C4A-4F0D-CCB9-7893C8246E9E}"/>
    <pc:docChg chg="modSld">
      <pc:chgData name="Leo Xing" userId="S::l7xing@uwaterloo.ca::092ea61f-c2f3-4c9c-8a83-cb04ba707769" providerId="AD" clId="Web-{456A06FB-9C4A-4F0D-CCB9-7893C8246E9E}" dt="2024-12-01T03:37:32.869" v="2"/>
      <pc:docMkLst>
        <pc:docMk/>
      </pc:docMkLst>
      <pc:sldChg chg="addSp delSp modSp">
        <pc:chgData name="Leo Xing" userId="S::l7xing@uwaterloo.ca::092ea61f-c2f3-4c9c-8a83-cb04ba707769" providerId="AD" clId="Web-{456A06FB-9C4A-4F0D-CCB9-7893C8246E9E}" dt="2024-12-01T03:37:32.869" v="2"/>
        <pc:sldMkLst>
          <pc:docMk/>
          <pc:sldMk cId="1748042046" sldId="675"/>
        </pc:sldMkLst>
        <pc:picChg chg="add del mod">
          <ac:chgData name="Leo Xing" userId="S::l7xing@uwaterloo.ca::092ea61f-c2f3-4c9c-8a83-cb04ba707769" providerId="AD" clId="Web-{456A06FB-9C4A-4F0D-CCB9-7893C8246E9E}" dt="2024-12-01T03:37:32.869" v="2"/>
          <ac:picMkLst>
            <pc:docMk/>
            <pc:sldMk cId="1748042046" sldId="675"/>
            <ac:picMk id="2" creationId="{6AD03E99-44A2-B29A-5E4A-D5B91CA53B98}"/>
          </ac:picMkLst>
        </pc:picChg>
      </pc:sldChg>
    </pc:docChg>
  </pc:docChgLst>
  <pc:docChgLst>
    <pc:chgData name="Gavin Grimm" userId="6c4cb79d-2b23-417c-a733-7dcc36d0b4a1" providerId="ADAL" clId="{CD450DB3-1841-4A3D-8AEE-BFC4F02741E6}"/>
    <pc:docChg chg="undo custSel addSld delSld modSld modSection">
      <pc:chgData name="Gavin Grimm" userId="6c4cb79d-2b23-417c-a733-7dcc36d0b4a1" providerId="ADAL" clId="{CD450DB3-1841-4A3D-8AEE-BFC4F02741E6}" dt="2024-11-26T16:54:03.227" v="635" actId="6549"/>
      <pc:docMkLst>
        <pc:docMk/>
      </pc:docMkLst>
      <pc:sldChg chg="modSp add mod modNotesTx">
        <pc:chgData name="Gavin Grimm" userId="6c4cb79d-2b23-417c-a733-7dcc36d0b4a1" providerId="ADAL" clId="{CD450DB3-1841-4A3D-8AEE-BFC4F02741E6}" dt="2024-11-26T16:54:03.227" v="635" actId="6549"/>
        <pc:sldMkLst>
          <pc:docMk/>
          <pc:sldMk cId="2450281343" sldId="257"/>
        </pc:sldMkLst>
        <pc:spChg chg="mod">
          <ac:chgData name="Gavin Grimm" userId="6c4cb79d-2b23-417c-a733-7dcc36d0b4a1" providerId="ADAL" clId="{CD450DB3-1841-4A3D-8AEE-BFC4F02741E6}" dt="2024-11-26T16:32:03.390" v="16" actId="14100"/>
          <ac:spMkLst>
            <pc:docMk/>
            <pc:sldMk cId="2450281343" sldId="257"/>
            <ac:spMk id="3" creationId="{B322C162-A73E-E6E1-F690-1E235B33E0F8}"/>
          </ac:spMkLst>
        </pc:spChg>
        <pc:picChg chg="mod">
          <ac:chgData name="Gavin Grimm" userId="6c4cb79d-2b23-417c-a733-7dcc36d0b4a1" providerId="ADAL" clId="{CD450DB3-1841-4A3D-8AEE-BFC4F02741E6}" dt="2024-11-26T16:34:45.827" v="30" actId="1076"/>
          <ac:picMkLst>
            <pc:docMk/>
            <pc:sldMk cId="2450281343" sldId="257"/>
            <ac:picMk id="5" creationId="{0D7AAED2-A826-CEDD-4FBA-AF4F98D645E0}"/>
          </ac:picMkLst>
        </pc:picChg>
      </pc:sldChg>
      <pc:sldChg chg="modSp add mod modNotesTx">
        <pc:chgData name="Gavin Grimm" userId="6c4cb79d-2b23-417c-a733-7dcc36d0b4a1" providerId="ADAL" clId="{CD450DB3-1841-4A3D-8AEE-BFC4F02741E6}" dt="2024-11-26T16:52:01.053" v="408" actId="20577"/>
        <pc:sldMkLst>
          <pc:docMk/>
          <pc:sldMk cId="1604018830" sldId="259"/>
        </pc:sldMkLst>
        <pc:graphicFrameChg chg="mod modGraphic">
          <ac:chgData name="Gavin Grimm" userId="6c4cb79d-2b23-417c-a733-7dcc36d0b4a1" providerId="ADAL" clId="{CD450DB3-1841-4A3D-8AEE-BFC4F02741E6}" dt="2024-11-26T16:33:55.811" v="27" actId="207"/>
          <ac:graphicFrameMkLst>
            <pc:docMk/>
            <pc:sldMk cId="1604018830" sldId="259"/>
            <ac:graphicFrameMk id="12" creationId="{E5A49078-45CF-B42C-3AF5-8FD571E4B6EF}"/>
          </ac:graphicFrameMkLst>
        </pc:graphicFrameChg>
        <pc:picChg chg="mod">
          <ac:chgData name="Gavin Grimm" userId="6c4cb79d-2b23-417c-a733-7dcc36d0b4a1" providerId="ADAL" clId="{CD450DB3-1841-4A3D-8AEE-BFC4F02741E6}" dt="2024-11-26T16:33:05.601" v="24" actId="1076"/>
          <ac:picMkLst>
            <pc:docMk/>
            <pc:sldMk cId="1604018830" sldId="259"/>
            <ac:picMk id="5" creationId="{2BAFE8BA-61B7-96B4-FC30-B0AF3860FE1F}"/>
          </ac:picMkLst>
        </pc:picChg>
        <pc:picChg chg="mod">
          <ac:chgData name="Gavin Grimm" userId="6c4cb79d-2b23-417c-a733-7dcc36d0b4a1" providerId="ADAL" clId="{CD450DB3-1841-4A3D-8AEE-BFC4F02741E6}" dt="2024-11-26T16:33:05.601" v="24" actId="1076"/>
          <ac:picMkLst>
            <pc:docMk/>
            <pc:sldMk cId="1604018830" sldId="259"/>
            <ac:picMk id="7" creationId="{C794FB3D-23A6-CD49-0F35-903BA8D4B332}"/>
          </ac:picMkLst>
        </pc:picChg>
        <pc:picChg chg="mod">
          <ac:chgData name="Gavin Grimm" userId="6c4cb79d-2b23-417c-a733-7dcc36d0b4a1" providerId="ADAL" clId="{CD450DB3-1841-4A3D-8AEE-BFC4F02741E6}" dt="2024-11-26T16:33:05.601" v="24" actId="1076"/>
          <ac:picMkLst>
            <pc:docMk/>
            <pc:sldMk cId="1604018830" sldId="259"/>
            <ac:picMk id="9" creationId="{5E852B05-7424-A805-670C-31BDC5918D8A}"/>
          </ac:picMkLst>
        </pc:picChg>
        <pc:picChg chg="mod">
          <ac:chgData name="Gavin Grimm" userId="6c4cb79d-2b23-417c-a733-7dcc36d0b4a1" providerId="ADAL" clId="{CD450DB3-1841-4A3D-8AEE-BFC4F02741E6}" dt="2024-11-26T16:33:05.601" v="24" actId="1076"/>
          <ac:picMkLst>
            <pc:docMk/>
            <pc:sldMk cId="1604018830" sldId="259"/>
            <ac:picMk id="11" creationId="{0A9D022C-D223-5A58-8057-71268DC357E3}"/>
          </ac:picMkLst>
        </pc:picChg>
        <pc:picChg chg="mod">
          <ac:chgData name="Gavin Grimm" userId="6c4cb79d-2b23-417c-a733-7dcc36d0b4a1" providerId="ADAL" clId="{CD450DB3-1841-4A3D-8AEE-BFC4F02741E6}" dt="2024-11-26T16:33:05.601" v="24" actId="1076"/>
          <ac:picMkLst>
            <pc:docMk/>
            <pc:sldMk cId="1604018830" sldId="259"/>
            <ac:picMk id="14" creationId="{6F812467-BEB1-19C2-B316-B8FE6880B40F}"/>
          </ac:picMkLst>
        </pc:picChg>
      </pc:sldChg>
      <pc:sldChg chg="modSp add del mod">
        <pc:chgData name="Gavin Grimm" userId="6c4cb79d-2b23-417c-a733-7dcc36d0b4a1" providerId="ADAL" clId="{CD450DB3-1841-4A3D-8AEE-BFC4F02741E6}" dt="2024-11-26T16:35:50.129" v="31" actId="47"/>
        <pc:sldMkLst>
          <pc:docMk/>
          <pc:sldMk cId="1364352245" sldId="260"/>
        </pc:sldMkLst>
        <pc:spChg chg="mod">
          <ac:chgData name="Gavin Grimm" userId="6c4cb79d-2b23-417c-a733-7dcc36d0b4a1" providerId="ADAL" clId="{CD450DB3-1841-4A3D-8AEE-BFC4F02741E6}" dt="2024-11-26T16:30:49.435" v="7" actId="27636"/>
          <ac:spMkLst>
            <pc:docMk/>
            <pc:sldMk cId="1364352245" sldId="260"/>
            <ac:spMk id="4" creationId="{4D968096-98D5-9F85-2B2B-2D793DDD73D2}"/>
          </ac:spMkLst>
        </pc:spChg>
      </pc:sldChg>
      <pc:sldChg chg="modSp mod">
        <pc:chgData name="Gavin Grimm" userId="6c4cb79d-2b23-417c-a733-7dcc36d0b4a1" providerId="ADAL" clId="{CD450DB3-1841-4A3D-8AEE-BFC4F02741E6}" dt="2024-11-26T16:39:10.223" v="159" actId="20577"/>
        <pc:sldMkLst>
          <pc:docMk/>
          <pc:sldMk cId="1819382037" sldId="659"/>
        </pc:sldMkLst>
        <pc:spChg chg="mod">
          <ac:chgData name="Gavin Grimm" userId="6c4cb79d-2b23-417c-a733-7dcc36d0b4a1" providerId="ADAL" clId="{CD450DB3-1841-4A3D-8AEE-BFC4F02741E6}" dt="2024-11-26T16:39:10.223" v="159" actId="20577"/>
          <ac:spMkLst>
            <pc:docMk/>
            <pc:sldMk cId="1819382037" sldId="659"/>
            <ac:spMk id="3" creationId="{5FFDAB8C-6CB3-3BEE-3ED1-AF1B9EA7FA33}"/>
          </ac:spMkLst>
        </pc:spChg>
      </pc:sldChg>
      <pc:sldChg chg="del">
        <pc:chgData name="Gavin Grimm" userId="6c4cb79d-2b23-417c-a733-7dcc36d0b4a1" providerId="ADAL" clId="{CD450DB3-1841-4A3D-8AEE-BFC4F02741E6}" dt="2024-11-26T16:30:05.027" v="0" actId="47"/>
        <pc:sldMkLst>
          <pc:docMk/>
          <pc:sldMk cId="244646061" sldId="665"/>
        </pc:sldMkLst>
      </pc:sldChg>
      <pc:sldChg chg="new del">
        <pc:chgData name="Gavin Grimm" userId="6c4cb79d-2b23-417c-a733-7dcc36d0b4a1" providerId="ADAL" clId="{CD450DB3-1841-4A3D-8AEE-BFC4F02741E6}" dt="2024-11-26T16:32:27.444" v="20" actId="680"/>
        <pc:sldMkLst>
          <pc:docMk/>
          <pc:sldMk cId="1045539402" sldId="677"/>
        </pc:sldMkLst>
      </pc:sldChg>
      <pc:sldChg chg="new del">
        <pc:chgData name="Gavin Grimm" userId="6c4cb79d-2b23-417c-a733-7dcc36d0b4a1" providerId="ADAL" clId="{CD450DB3-1841-4A3D-8AEE-BFC4F02741E6}" dt="2024-11-26T16:30:12.703" v="3" actId="47"/>
        <pc:sldMkLst>
          <pc:docMk/>
          <pc:sldMk cId="1910335534" sldId="677"/>
        </pc:sldMkLst>
      </pc:sldChg>
      <pc:sldMasterChg chg="delSldLayout">
        <pc:chgData name="Gavin Grimm" userId="6c4cb79d-2b23-417c-a733-7dcc36d0b4a1" providerId="ADAL" clId="{CD450DB3-1841-4A3D-8AEE-BFC4F02741E6}" dt="2024-11-26T16:35:50.129" v="31" actId="47"/>
        <pc:sldMasterMkLst>
          <pc:docMk/>
          <pc:sldMasterMk cId="2846167297" sldId="2147483677"/>
        </pc:sldMasterMkLst>
        <pc:sldLayoutChg chg="del">
          <pc:chgData name="Gavin Grimm" userId="6c4cb79d-2b23-417c-a733-7dcc36d0b4a1" providerId="ADAL" clId="{CD450DB3-1841-4A3D-8AEE-BFC4F02741E6}" dt="2024-11-26T16:35:50.129" v="31" actId="47"/>
          <pc:sldLayoutMkLst>
            <pc:docMk/>
            <pc:sldMasterMk cId="2846167297" sldId="2147483677"/>
            <pc:sldLayoutMk cId="3794794842" sldId="2147483721"/>
          </pc:sldLayoutMkLst>
        </pc:sldLayoutChg>
      </pc:sldMasterChg>
    </pc:docChg>
  </pc:docChgLst>
  <pc:docChgLst>
    <pc:chgData name="Marvin Mario Bullinger" userId="3bbe2cfe-6e8b-4ac1-8799-4ce6c696cdc9" providerId="ADAL" clId="{3360662A-8C3C-464A-9794-3A662C84026C}"/>
    <pc:docChg chg="undo custSel addSld delSld modSld sldOrd modSection">
      <pc:chgData name="Marvin Mario Bullinger" userId="3bbe2cfe-6e8b-4ac1-8799-4ce6c696cdc9" providerId="ADAL" clId="{3360662A-8C3C-464A-9794-3A662C84026C}" dt="2024-11-27T07:11:53.693" v="1132" actId="20577"/>
      <pc:docMkLst>
        <pc:docMk/>
      </pc:docMkLst>
      <pc:sldChg chg="modSp mod">
        <pc:chgData name="Marvin Mario Bullinger" userId="3bbe2cfe-6e8b-4ac1-8799-4ce6c696cdc9" providerId="ADAL" clId="{3360662A-8C3C-464A-9794-3A662C84026C}" dt="2024-11-25T18:41:25.546" v="59" actId="790"/>
        <pc:sldMkLst>
          <pc:docMk/>
          <pc:sldMk cId="1533146030" sldId="651"/>
        </pc:sldMkLst>
        <pc:spChg chg="mod">
          <ac:chgData name="Marvin Mario Bullinger" userId="3bbe2cfe-6e8b-4ac1-8799-4ce6c696cdc9" providerId="ADAL" clId="{3360662A-8C3C-464A-9794-3A662C84026C}" dt="2024-11-25T18:41:25.537" v="56" actId="790"/>
          <ac:spMkLst>
            <pc:docMk/>
            <pc:sldMk cId="1533146030" sldId="651"/>
            <ac:spMk id="3" creationId="{B0FAD62E-2CD3-2E12-244C-3E8F06F44816}"/>
          </ac:spMkLst>
        </pc:spChg>
        <pc:spChg chg="mod">
          <ac:chgData name="Marvin Mario Bullinger" userId="3bbe2cfe-6e8b-4ac1-8799-4ce6c696cdc9" providerId="ADAL" clId="{3360662A-8C3C-464A-9794-3A662C84026C}" dt="2024-11-25T18:41:25.546" v="58" actId="790"/>
          <ac:spMkLst>
            <pc:docMk/>
            <pc:sldMk cId="1533146030" sldId="651"/>
            <ac:spMk id="42" creationId="{C7E757C5-03D1-1F7C-8394-C9FB4BCDFB61}"/>
          </ac:spMkLst>
        </pc:spChg>
        <pc:spChg chg="mod">
          <ac:chgData name="Marvin Mario Bullinger" userId="3bbe2cfe-6e8b-4ac1-8799-4ce6c696cdc9" providerId="ADAL" clId="{3360662A-8C3C-464A-9794-3A662C84026C}" dt="2024-11-25T18:41:25.546" v="59" actId="790"/>
          <ac:spMkLst>
            <pc:docMk/>
            <pc:sldMk cId="1533146030" sldId="651"/>
            <ac:spMk id="44" creationId="{9A0D7DE8-29FE-08C8-D01C-97334E84F4D3}"/>
          </ac:spMkLst>
        </pc:spChg>
      </pc:sldChg>
      <pc:sldChg chg="modSp mod">
        <pc:chgData name="Marvin Mario Bullinger" userId="3bbe2cfe-6e8b-4ac1-8799-4ce6c696cdc9" providerId="ADAL" clId="{3360662A-8C3C-464A-9794-3A662C84026C}" dt="2024-11-25T18:41:25.530" v="52" actId="790"/>
        <pc:sldMkLst>
          <pc:docMk/>
          <pc:sldMk cId="994611207" sldId="654"/>
        </pc:sldMkLst>
        <pc:spChg chg="mod">
          <ac:chgData name="Marvin Mario Bullinger" userId="3bbe2cfe-6e8b-4ac1-8799-4ce6c696cdc9" providerId="ADAL" clId="{3360662A-8C3C-464A-9794-3A662C84026C}" dt="2024-11-25T18:41:25.530" v="52" actId="790"/>
          <ac:spMkLst>
            <pc:docMk/>
            <pc:sldMk cId="994611207" sldId="654"/>
            <ac:spMk id="9" creationId="{7333D423-E2BE-37CF-A67B-0F3F1234C3B8}"/>
          </ac:spMkLst>
        </pc:spChg>
        <pc:spChg chg="mod">
          <ac:chgData name="Marvin Mario Bullinger" userId="3bbe2cfe-6e8b-4ac1-8799-4ce6c696cdc9" providerId="ADAL" clId="{3360662A-8C3C-464A-9794-3A662C84026C}" dt="2024-11-25T18:41:25.530" v="51" actId="790"/>
          <ac:spMkLst>
            <pc:docMk/>
            <pc:sldMk cId="994611207" sldId="654"/>
            <ac:spMk id="24" creationId="{B010C026-3802-4286-A77A-E1199267FA9A}"/>
          </ac:spMkLst>
        </pc:spChg>
        <pc:spChg chg="mod">
          <ac:chgData name="Marvin Mario Bullinger" userId="3bbe2cfe-6e8b-4ac1-8799-4ce6c696cdc9" providerId="ADAL" clId="{3360662A-8C3C-464A-9794-3A662C84026C}" dt="2024-11-25T18:41:25.530" v="50" actId="790"/>
          <ac:spMkLst>
            <pc:docMk/>
            <pc:sldMk cId="994611207" sldId="654"/>
            <ac:spMk id="25" creationId="{EA841127-0B72-400E-AB5C-5996369E3F23}"/>
          </ac:spMkLst>
        </pc:spChg>
        <pc:spChg chg="mod">
          <ac:chgData name="Marvin Mario Bullinger" userId="3bbe2cfe-6e8b-4ac1-8799-4ce6c696cdc9" providerId="ADAL" clId="{3360662A-8C3C-464A-9794-3A662C84026C}" dt="2024-11-25T18:41:25.530" v="49" actId="790"/>
          <ac:spMkLst>
            <pc:docMk/>
            <pc:sldMk cId="994611207" sldId="654"/>
            <ac:spMk id="26" creationId="{D9CD124E-7F9C-4C15-BB2B-846DC19013E9}"/>
          </ac:spMkLst>
        </pc:spChg>
        <pc:spChg chg="mod">
          <ac:chgData name="Marvin Mario Bullinger" userId="3bbe2cfe-6e8b-4ac1-8799-4ce6c696cdc9" providerId="ADAL" clId="{3360662A-8C3C-464A-9794-3A662C84026C}" dt="2024-11-25T18:41:25.530" v="48" actId="790"/>
          <ac:spMkLst>
            <pc:docMk/>
            <pc:sldMk cId="994611207" sldId="654"/>
            <ac:spMk id="28" creationId="{D52005BE-D983-4EB9-BEA3-07C1BBC8A6BF}"/>
          </ac:spMkLst>
        </pc:spChg>
        <pc:spChg chg="mod">
          <ac:chgData name="Marvin Mario Bullinger" userId="3bbe2cfe-6e8b-4ac1-8799-4ce6c696cdc9" providerId="ADAL" clId="{3360662A-8C3C-464A-9794-3A662C84026C}" dt="2024-11-25T18:41:25.530" v="47" actId="790"/>
          <ac:spMkLst>
            <pc:docMk/>
            <pc:sldMk cId="994611207" sldId="654"/>
            <ac:spMk id="30" creationId="{75AE09E3-BEA6-4B5A-9103-2B6063C50E76}"/>
          </ac:spMkLst>
        </pc:spChg>
        <pc:spChg chg="mod">
          <ac:chgData name="Marvin Mario Bullinger" userId="3bbe2cfe-6e8b-4ac1-8799-4ce6c696cdc9" providerId="ADAL" clId="{3360662A-8C3C-464A-9794-3A662C84026C}" dt="2024-11-25T18:41:25.530" v="46" actId="790"/>
          <ac:spMkLst>
            <pc:docMk/>
            <pc:sldMk cId="994611207" sldId="654"/>
            <ac:spMk id="31" creationId="{091970E9-B341-497A-854A-4B65909F0B77}"/>
          </ac:spMkLst>
        </pc:spChg>
        <pc:spChg chg="mod">
          <ac:chgData name="Marvin Mario Bullinger" userId="3bbe2cfe-6e8b-4ac1-8799-4ce6c696cdc9" providerId="ADAL" clId="{3360662A-8C3C-464A-9794-3A662C84026C}" dt="2024-11-25T18:41:25.530" v="45" actId="790"/>
          <ac:spMkLst>
            <pc:docMk/>
            <pc:sldMk cId="994611207" sldId="654"/>
            <ac:spMk id="32" creationId="{1E5BED45-4DC4-4ED3-9E4A-CC81DBF89B85}"/>
          </ac:spMkLst>
        </pc:spChg>
        <pc:spChg chg="mod">
          <ac:chgData name="Marvin Mario Bullinger" userId="3bbe2cfe-6e8b-4ac1-8799-4ce6c696cdc9" providerId="ADAL" clId="{3360662A-8C3C-464A-9794-3A662C84026C}" dt="2024-11-25T18:41:25.520" v="44" actId="790"/>
          <ac:spMkLst>
            <pc:docMk/>
            <pc:sldMk cId="994611207" sldId="654"/>
            <ac:spMk id="33" creationId="{13E3C802-5A00-434C-988F-8476FFAC0ACA}"/>
          </ac:spMkLst>
        </pc:spChg>
        <pc:spChg chg="mod">
          <ac:chgData name="Marvin Mario Bullinger" userId="3bbe2cfe-6e8b-4ac1-8799-4ce6c696cdc9" providerId="ADAL" clId="{3360662A-8C3C-464A-9794-3A662C84026C}" dt="2024-11-25T18:41:25.520" v="43" actId="790"/>
          <ac:spMkLst>
            <pc:docMk/>
            <pc:sldMk cId="994611207" sldId="654"/>
            <ac:spMk id="34" creationId="{48092B67-1EA0-4A1B-A801-2FBECFCC82CF}"/>
          </ac:spMkLst>
        </pc:spChg>
        <pc:spChg chg="mod">
          <ac:chgData name="Marvin Mario Bullinger" userId="3bbe2cfe-6e8b-4ac1-8799-4ce6c696cdc9" providerId="ADAL" clId="{3360662A-8C3C-464A-9794-3A662C84026C}" dt="2024-11-25T18:41:25.520" v="42" actId="790"/>
          <ac:spMkLst>
            <pc:docMk/>
            <pc:sldMk cId="994611207" sldId="654"/>
            <ac:spMk id="36" creationId="{7E33BE8F-7805-4E21-85B5-0AD74CEF5F8F}"/>
          </ac:spMkLst>
        </pc:spChg>
        <pc:spChg chg="mod">
          <ac:chgData name="Marvin Mario Bullinger" userId="3bbe2cfe-6e8b-4ac1-8799-4ce6c696cdc9" providerId="ADAL" clId="{3360662A-8C3C-464A-9794-3A662C84026C}" dt="2024-11-25T18:41:21.393" v="24" actId="790"/>
          <ac:spMkLst>
            <pc:docMk/>
            <pc:sldMk cId="994611207" sldId="654"/>
            <ac:spMk id="37" creationId="{E63B8F72-0C39-4049-B965-C1E39209CD8E}"/>
          </ac:spMkLst>
        </pc:spChg>
        <pc:spChg chg="mod">
          <ac:chgData name="Marvin Mario Bullinger" userId="3bbe2cfe-6e8b-4ac1-8799-4ce6c696cdc9" providerId="ADAL" clId="{3360662A-8C3C-464A-9794-3A662C84026C}" dt="2024-11-25T18:41:25.520" v="41" actId="790"/>
          <ac:spMkLst>
            <pc:docMk/>
            <pc:sldMk cId="994611207" sldId="654"/>
            <ac:spMk id="38" creationId="{22691FBF-4771-47F6-A111-1BC9273483CC}"/>
          </ac:spMkLst>
        </pc:spChg>
        <pc:spChg chg="mod">
          <ac:chgData name="Marvin Mario Bullinger" userId="3bbe2cfe-6e8b-4ac1-8799-4ce6c696cdc9" providerId="ADAL" clId="{3360662A-8C3C-464A-9794-3A662C84026C}" dt="2024-11-25T18:41:25.520" v="40" actId="790"/>
          <ac:spMkLst>
            <pc:docMk/>
            <pc:sldMk cId="994611207" sldId="654"/>
            <ac:spMk id="40" creationId="{475C21F5-C8B8-46C5-A762-CD9A2B5FBC4D}"/>
          </ac:spMkLst>
        </pc:spChg>
        <pc:spChg chg="mod">
          <ac:chgData name="Marvin Mario Bullinger" userId="3bbe2cfe-6e8b-4ac1-8799-4ce6c696cdc9" providerId="ADAL" clId="{3360662A-8C3C-464A-9794-3A662C84026C}" dt="2024-11-25T18:41:21.393" v="27" actId="790"/>
          <ac:spMkLst>
            <pc:docMk/>
            <pc:sldMk cId="994611207" sldId="654"/>
            <ac:spMk id="41" creationId="{534CC06A-9008-44E6-982A-F3D576AF80C2}"/>
          </ac:spMkLst>
        </pc:spChg>
        <pc:spChg chg="mod">
          <ac:chgData name="Marvin Mario Bullinger" userId="3bbe2cfe-6e8b-4ac1-8799-4ce6c696cdc9" providerId="ADAL" clId="{3360662A-8C3C-464A-9794-3A662C84026C}" dt="2024-11-25T18:41:25.520" v="39" actId="790"/>
          <ac:spMkLst>
            <pc:docMk/>
            <pc:sldMk cId="994611207" sldId="654"/>
            <ac:spMk id="44" creationId="{B0F1B315-6C66-4A9D-A848-849C643BD499}"/>
          </ac:spMkLst>
        </pc:spChg>
        <pc:spChg chg="mod">
          <ac:chgData name="Marvin Mario Bullinger" userId="3bbe2cfe-6e8b-4ac1-8799-4ce6c696cdc9" providerId="ADAL" clId="{3360662A-8C3C-464A-9794-3A662C84026C}" dt="2024-11-25T18:41:25.520" v="38" actId="790"/>
          <ac:spMkLst>
            <pc:docMk/>
            <pc:sldMk cId="994611207" sldId="654"/>
            <ac:spMk id="46" creationId="{D1680D6F-8E4D-4546-9F14-F5796942ED7B}"/>
          </ac:spMkLst>
        </pc:spChg>
        <pc:spChg chg="mod">
          <ac:chgData name="Marvin Mario Bullinger" userId="3bbe2cfe-6e8b-4ac1-8799-4ce6c696cdc9" providerId="ADAL" clId="{3360662A-8C3C-464A-9794-3A662C84026C}" dt="2024-11-25T18:41:21.409" v="30" actId="790"/>
          <ac:spMkLst>
            <pc:docMk/>
            <pc:sldMk cId="994611207" sldId="654"/>
            <ac:spMk id="47" creationId="{90C95E8F-99AD-487F-AF09-FCA17A31A7D2}"/>
          </ac:spMkLst>
        </pc:spChg>
        <pc:spChg chg="mod">
          <ac:chgData name="Marvin Mario Bullinger" userId="3bbe2cfe-6e8b-4ac1-8799-4ce6c696cdc9" providerId="ADAL" clId="{3360662A-8C3C-464A-9794-3A662C84026C}" dt="2024-11-25T18:41:25.520" v="37" actId="790"/>
          <ac:spMkLst>
            <pc:docMk/>
            <pc:sldMk cId="994611207" sldId="654"/>
            <ac:spMk id="49" creationId="{EA797053-3AC5-4A12-AAF2-D2FFEBE033D1}"/>
          </ac:spMkLst>
        </pc:spChg>
        <pc:spChg chg="mod">
          <ac:chgData name="Marvin Mario Bullinger" userId="3bbe2cfe-6e8b-4ac1-8799-4ce6c696cdc9" providerId="ADAL" clId="{3360662A-8C3C-464A-9794-3A662C84026C}" dt="2024-11-25T18:41:25.520" v="36" actId="790"/>
          <ac:spMkLst>
            <pc:docMk/>
            <pc:sldMk cId="994611207" sldId="654"/>
            <ac:spMk id="51" creationId="{6D47D1BF-1CB1-4879-A73B-35928D91AE62}"/>
          </ac:spMkLst>
        </pc:spChg>
        <pc:spChg chg="mod">
          <ac:chgData name="Marvin Mario Bullinger" userId="3bbe2cfe-6e8b-4ac1-8799-4ce6c696cdc9" providerId="ADAL" clId="{3360662A-8C3C-464A-9794-3A662C84026C}" dt="2024-11-25T18:41:21.409" v="33" actId="790"/>
          <ac:spMkLst>
            <pc:docMk/>
            <pc:sldMk cId="994611207" sldId="654"/>
            <ac:spMk id="53" creationId="{34E01994-5847-496A-81F4-0FC0347E40AF}"/>
          </ac:spMkLst>
        </pc:spChg>
        <pc:spChg chg="mod">
          <ac:chgData name="Marvin Mario Bullinger" userId="3bbe2cfe-6e8b-4ac1-8799-4ce6c696cdc9" providerId="ADAL" clId="{3360662A-8C3C-464A-9794-3A662C84026C}" dt="2024-11-25T18:41:25.520" v="35" actId="790"/>
          <ac:spMkLst>
            <pc:docMk/>
            <pc:sldMk cId="994611207" sldId="654"/>
            <ac:spMk id="55" creationId="{699BD184-2757-442C-8F82-4BDACBECBF37}"/>
          </ac:spMkLst>
        </pc:spChg>
      </pc:sldChg>
      <pc:sldChg chg="addSp delSp modSp mod">
        <pc:chgData name="Marvin Mario Bullinger" userId="3bbe2cfe-6e8b-4ac1-8799-4ce6c696cdc9" providerId="ADAL" clId="{3360662A-8C3C-464A-9794-3A662C84026C}" dt="2024-11-27T07:09:23.834" v="944" actId="478"/>
        <pc:sldMkLst>
          <pc:docMk/>
          <pc:sldMk cId="1819382037" sldId="659"/>
        </pc:sldMkLst>
        <pc:spChg chg="mod">
          <ac:chgData name="Marvin Mario Bullinger" userId="3bbe2cfe-6e8b-4ac1-8799-4ce6c696cdc9" providerId="ADAL" clId="{3360662A-8C3C-464A-9794-3A662C84026C}" dt="2024-11-27T07:09:07.530" v="943" actId="1035"/>
          <ac:spMkLst>
            <pc:docMk/>
            <pc:sldMk cId="1819382037" sldId="659"/>
            <ac:spMk id="3" creationId="{5FFDAB8C-6CB3-3BEE-3ED1-AF1B9EA7FA33}"/>
          </ac:spMkLst>
        </pc:spChg>
        <pc:spChg chg="add mod">
          <ac:chgData name="Marvin Mario Bullinger" userId="3bbe2cfe-6e8b-4ac1-8799-4ce6c696cdc9" providerId="ADAL" clId="{3360662A-8C3C-464A-9794-3A662C84026C}" dt="2024-11-27T07:09:23.834" v="944" actId="478"/>
          <ac:spMkLst>
            <pc:docMk/>
            <pc:sldMk cId="1819382037" sldId="659"/>
            <ac:spMk id="4" creationId="{196B078E-198F-2927-0FAB-530C5668BFEF}"/>
          </ac:spMkLst>
        </pc:spChg>
        <pc:spChg chg="mod">
          <ac:chgData name="Marvin Mario Bullinger" userId="3bbe2cfe-6e8b-4ac1-8799-4ce6c696cdc9" providerId="ADAL" clId="{3360662A-8C3C-464A-9794-3A662C84026C}" dt="2024-11-25T18:41:33.620" v="62" actId="790"/>
          <ac:spMkLst>
            <pc:docMk/>
            <pc:sldMk cId="1819382037" sldId="659"/>
            <ac:spMk id="42" creationId="{C7E757C5-03D1-1F7C-8394-C9FB4BCDFB61}"/>
          </ac:spMkLst>
        </pc:spChg>
        <pc:spChg chg="del mod">
          <ac:chgData name="Marvin Mario Bullinger" userId="3bbe2cfe-6e8b-4ac1-8799-4ce6c696cdc9" providerId="ADAL" clId="{3360662A-8C3C-464A-9794-3A662C84026C}" dt="2024-11-27T07:09:23.834" v="944" actId="478"/>
          <ac:spMkLst>
            <pc:docMk/>
            <pc:sldMk cId="1819382037" sldId="659"/>
            <ac:spMk id="43" creationId="{3896FE4D-A7AE-099B-363F-0C85F0A9502A}"/>
          </ac:spMkLst>
        </pc:spChg>
      </pc:sldChg>
      <pc:sldChg chg="modSp mod">
        <pc:chgData name="Marvin Mario Bullinger" userId="3bbe2cfe-6e8b-4ac1-8799-4ce6c696cdc9" providerId="ADAL" clId="{3360662A-8C3C-464A-9794-3A662C84026C}" dt="2024-11-25T18:41:25.537" v="55" actId="790"/>
        <pc:sldMkLst>
          <pc:docMk/>
          <pc:sldMk cId="3402755058" sldId="662"/>
        </pc:sldMkLst>
        <pc:spChg chg="mod">
          <ac:chgData name="Marvin Mario Bullinger" userId="3bbe2cfe-6e8b-4ac1-8799-4ce6c696cdc9" providerId="ADAL" clId="{3360662A-8C3C-464A-9794-3A662C84026C}" dt="2024-11-25T18:41:25.537" v="55" actId="790"/>
          <ac:spMkLst>
            <pc:docMk/>
            <pc:sldMk cId="3402755058" sldId="662"/>
            <ac:spMk id="4" creationId="{853FDC43-39DC-57C9-5B88-F7AAAFBCD72A}"/>
          </ac:spMkLst>
        </pc:spChg>
      </pc:sldChg>
      <pc:sldChg chg="addSp delSp modSp mod modTransition">
        <pc:chgData name="Marvin Mario Bullinger" userId="3bbe2cfe-6e8b-4ac1-8799-4ce6c696cdc9" providerId="ADAL" clId="{3360662A-8C3C-464A-9794-3A662C84026C}" dt="2024-11-27T07:10:53.335" v="1055"/>
        <pc:sldMkLst>
          <pc:docMk/>
          <pc:sldMk cId="3071594886" sldId="663"/>
        </pc:sldMkLst>
        <pc:spChg chg="add mod">
          <ac:chgData name="Marvin Mario Bullinger" userId="3bbe2cfe-6e8b-4ac1-8799-4ce6c696cdc9" providerId="ADAL" clId="{3360662A-8C3C-464A-9794-3A662C84026C}" dt="2024-11-27T07:10:53.335" v="1055"/>
          <ac:spMkLst>
            <pc:docMk/>
            <pc:sldMk cId="3071594886" sldId="663"/>
            <ac:spMk id="2" creationId="{8E4D9EC3-3558-67F3-C433-F340485676F5}"/>
          </ac:spMkLst>
        </pc:spChg>
        <pc:spChg chg="add del mod">
          <ac:chgData name="Marvin Mario Bullinger" userId="3bbe2cfe-6e8b-4ac1-8799-4ce6c696cdc9" providerId="ADAL" clId="{3360662A-8C3C-464A-9794-3A662C84026C}" dt="2024-11-27T07:10:52.904" v="1054" actId="478"/>
          <ac:spMkLst>
            <pc:docMk/>
            <pc:sldMk cId="3071594886" sldId="663"/>
            <ac:spMk id="4" creationId="{72A6E341-471D-9187-3BEE-97C81F8D3A43}"/>
          </ac:spMkLst>
        </pc:spChg>
        <pc:spChg chg="add mod">
          <ac:chgData name="Marvin Mario Bullinger" userId="3bbe2cfe-6e8b-4ac1-8799-4ce6c696cdc9" providerId="ADAL" clId="{3360662A-8C3C-464A-9794-3A662C84026C}" dt="2024-11-27T07:10:53.335" v="1055"/>
          <ac:spMkLst>
            <pc:docMk/>
            <pc:sldMk cId="3071594886" sldId="663"/>
            <ac:spMk id="5" creationId="{F342FA8C-BEEA-5AC0-B35D-654981070F6B}"/>
          </ac:spMkLst>
        </pc:spChg>
      </pc:sldChg>
      <pc:sldChg chg="modSp mod">
        <pc:chgData name="Marvin Mario Bullinger" userId="3bbe2cfe-6e8b-4ac1-8799-4ce6c696cdc9" providerId="ADAL" clId="{3360662A-8C3C-464A-9794-3A662C84026C}" dt="2024-11-27T06:18:37.309" v="388" actId="1035"/>
        <pc:sldMkLst>
          <pc:docMk/>
          <pc:sldMk cId="2459506782" sldId="664"/>
        </pc:sldMkLst>
        <pc:spChg chg="mod">
          <ac:chgData name="Marvin Mario Bullinger" userId="3bbe2cfe-6e8b-4ac1-8799-4ce6c696cdc9" providerId="ADAL" clId="{3360662A-8C3C-464A-9794-3A662C84026C}" dt="2024-11-27T06:18:37.309" v="388" actId="1035"/>
          <ac:spMkLst>
            <pc:docMk/>
            <pc:sldMk cId="2459506782" sldId="664"/>
            <ac:spMk id="6" creationId="{0837F090-DEF9-FC2C-0D6C-29947B657BEC}"/>
          </ac:spMkLst>
        </pc:spChg>
        <pc:spChg chg="mod">
          <ac:chgData name="Marvin Mario Bullinger" userId="3bbe2cfe-6e8b-4ac1-8799-4ce6c696cdc9" providerId="ADAL" clId="{3360662A-8C3C-464A-9794-3A662C84026C}" dt="2024-11-27T06:18:24.642" v="378" actId="790"/>
          <ac:spMkLst>
            <pc:docMk/>
            <pc:sldMk cId="2459506782" sldId="664"/>
            <ac:spMk id="7" creationId="{49CB9965-CC55-9B67-0DC6-3DBDE790AB5E}"/>
          </ac:spMkLst>
        </pc:spChg>
        <pc:spChg chg="mod">
          <ac:chgData name="Marvin Mario Bullinger" userId="3bbe2cfe-6e8b-4ac1-8799-4ce6c696cdc9" providerId="ADAL" clId="{3360662A-8C3C-464A-9794-3A662C84026C}" dt="2024-11-27T06:18:29.328" v="379" actId="790"/>
          <ac:spMkLst>
            <pc:docMk/>
            <pc:sldMk cId="2459506782" sldId="664"/>
            <ac:spMk id="8" creationId="{3E447D12-B3BC-2D6C-1864-FA030F4343F2}"/>
          </ac:spMkLst>
        </pc:spChg>
      </pc:sldChg>
      <pc:sldChg chg="modSp mod">
        <pc:chgData name="Marvin Mario Bullinger" userId="3bbe2cfe-6e8b-4ac1-8799-4ce6c696cdc9" providerId="ADAL" clId="{3360662A-8C3C-464A-9794-3A662C84026C}" dt="2024-11-25T18:41:28.342" v="61" actId="790"/>
        <pc:sldMkLst>
          <pc:docMk/>
          <pc:sldMk cId="244646061" sldId="665"/>
        </pc:sldMkLst>
      </pc:sldChg>
      <pc:sldChg chg="addSp delSp modSp add mod modTransition">
        <pc:chgData name="Marvin Mario Bullinger" userId="3bbe2cfe-6e8b-4ac1-8799-4ce6c696cdc9" providerId="ADAL" clId="{3360662A-8C3C-464A-9794-3A662C84026C}" dt="2024-11-27T07:10:41.689" v="1051"/>
        <pc:sldMkLst>
          <pc:docMk/>
          <pc:sldMk cId="3034202888" sldId="666"/>
        </pc:sldMkLst>
        <pc:spChg chg="del">
          <ac:chgData name="Marvin Mario Bullinger" userId="3bbe2cfe-6e8b-4ac1-8799-4ce6c696cdc9" providerId="ADAL" clId="{3360662A-8C3C-464A-9794-3A662C84026C}" dt="2024-11-27T07:10:41.406" v="1050" actId="478"/>
          <ac:spMkLst>
            <pc:docMk/>
            <pc:sldMk cId="3034202888" sldId="666"/>
            <ac:spMk id="2" creationId="{7C11D29D-3DBA-6816-BB54-2F59CA3BB9C7}"/>
          </ac:spMkLst>
        </pc:spChg>
        <pc:spChg chg="add mod">
          <ac:chgData name="Marvin Mario Bullinger" userId="3bbe2cfe-6e8b-4ac1-8799-4ce6c696cdc9" providerId="ADAL" clId="{3360662A-8C3C-464A-9794-3A662C84026C}" dt="2024-11-27T07:10:41.689" v="1051"/>
          <ac:spMkLst>
            <pc:docMk/>
            <pc:sldMk cId="3034202888" sldId="666"/>
            <ac:spMk id="5" creationId="{E436A8F5-BA9B-D3F2-A5AE-E141168FEB3C}"/>
          </ac:spMkLst>
        </pc:spChg>
        <pc:spChg chg="add mod">
          <ac:chgData name="Marvin Mario Bullinger" userId="3bbe2cfe-6e8b-4ac1-8799-4ce6c696cdc9" providerId="ADAL" clId="{3360662A-8C3C-464A-9794-3A662C84026C}" dt="2024-11-27T07:10:41.689" v="1051"/>
          <ac:spMkLst>
            <pc:docMk/>
            <pc:sldMk cId="3034202888" sldId="666"/>
            <ac:spMk id="6" creationId="{8ADEF1A9-8EF5-5616-D9A7-F17CF17819ED}"/>
          </ac:spMkLst>
        </pc:spChg>
      </pc:sldChg>
      <pc:sldChg chg="addSp delSp modSp add mod modTransition">
        <pc:chgData name="Marvin Mario Bullinger" userId="3bbe2cfe-6e8b-4ac1-8799-4ce6c696cdc9" providerId="ADAL" clId="{3360662A-8C3C-464A-9794-3A662C84026C}" dt="2024-11-27T07:11:11.599" v="1061" actId="20577"/>
        <pc:sldMkLst>
          <pc:docMk/>
          <pc:sldMk cId="1376350018" sldId="667"/>
        </pc:sldMkLst>
        <pc:spChg chg="add mod">
          <ac:chgData name="Marvin Mario Bullinger" userId="3bbe2cfe-6e8b-4ac1-8799-4ce6c696cdc9" providerId="ADAL" clId="{3360662A-8C3C-464A-9794-3A662C84026C}" dt="2024-11-27T07:11:04.670" v="1059"/>
          <ac:spMkLst>
            <pc:docMk/>
            <pc:sldMk cId="1376350018" sldId="667"/>
            <ac:spMk id="2" creationId="{3A1A355A-8D29-F090-CB8D-4BD67483D620}"/>
          </ac:spMkLst>
        </pc:spChg>
        <pc:spChg chg="add mod">
          <ac:chgData name="Marvin Mario Bullinger" userId="3bbe2cfe-6e8b-4ac1-8799-4ce6c696cdc9" providerId="ADAL" clId="{3360662A-8C3C-464A-9794-3A662C84026C}" dt="2024-11-27T07:11:11.599" v="1061" actId="20577"/>
          <ac:spMkLst>
            <pc:docMk/>
            <pc:sldMk cId="1376350018" sldId="667"/>
            <ac:spMk id="3" creationId="{049F87F9-48DD-248B-31DB-5B04E222D788}"/>
          </ac:spMkLst>
        </pc:spChg>
        <pc:spChg chg="add del mod">
          <ac:chgData name="Marvin Mario Bullinger" userId="3bbe2cfe-6e8b-4ac1-8799-4ce6c696cdc9" providerId="ADAL" clId="{3360662A-8C3C-464A-9794-3A662C84026C}" dt="2024-11-27T07:11:04.366" v="1058" actId="478"/>
          <ac:spMkLst>
            <pc:docMk/>
            <pc:sldMk cId="1376350018" sldId="667"/>
            <ac:spMk id="7" creationId="{B4092F61-861D-CFFE-E776-B38EB810C02C}"/>
          </ac:spMkLst>
        </pc:spChg>
      </pc:sldChg>
      <pc:sldChg chg="delSp modSp add del mod">
        <pc:chgData name="Marvin Mario Bullinger" userId="3bbe2cfe-6e8b-4ac1-8799-4ce6c696cdc9" providerId="ADAL" clId="{3360662A-8C3C-464A-9794-3A662C84026C}" dt="2024-11-25T19:05:56.281" v="313" actId="47"/>
        <pc:sldMkLst>
          <pc:docMk/>
          <pc:sldMk cId="3206995357" sldId="668"/>
        </pc:sldMkLst>
      </pc:sldChg>
      <pc:sldChg chg="modSp add del mod">
        <pc:chgData name="Marvin Mario Bullinger" userId="3bbe2cfe-6e8b-4ac1-8799-4ce6c696cdc9" providerId="ADAL" clId="{3360662A-8C3C-464A-9794-3A662C84026C}" dt="2024-11-25T18:56:24.869" v="129"/>
        <pc:sldMkLst>
          <pc:docMk/>
          <pc:sldMk cId="1752667576" sldId="669"/>
        </pc:sldMkLst>
      </pc:sldChg>
      <pc:sldChg chg="addSp delSp modSp add mod modTransition">
        <pc:chgData name="Marvin Mario Bullinger" userId="3bbe2cfe-6e8b-4ac1-8799-4ce6c696cdc9" providerId="ADAL" clId="{3360662A-8C3C-464A-9794-3A662C84026C}" dt="2024-11-27T07:10:45.651" v="1053"/>
        <pc:sldMkLst>
          <pc:docMk/>
          <pc:sldMk cId="3864045237" sldId="669"/>
        </pc:sldMkLst>
        <pc:spChg chg="del">
          <ac:chgData name="Marvin Mario Bullinger" userId="3bbe2cfe-6e8b-4ac1-8799-4ce6c696cdc9" providerId="ADAL" clId="{3360662A-8C3C-464A-9794-3A662C84026C}" dt="2024-11-27T07:10:45.373" v="1052" actId="478"/>
          <ac:spMkLst>
            <pc:docMk/>
            <pc:sldMk cId="3864045237" sldId="669"/>
            <ac:spMk id="2" creationId="{7C11D29D-3DBA-6816-BB54-2F59CA3BB9C7}"/>
          </ac:spMkLst>
        </pc:spChg>
        <pc:spChg chg="add mod">
          <ac:chgData name="Marvin Mario Bullinger" userId="3bbe2cfe-6e8b-4ac1-8799-4ce6c696cdc9" providerId="ADAL" clId="{3360662A-8C3C-464A-9794-3A662C84026C}" dt="2024-11-27T07:10:45.651" v="1053"/>
          <ac:spMkLst>
            <pc:docMk/>
            <pc:sldMk cId="3864045237" sldId="669"/>
            <ac:spMk id="5" creationId="{9A2E7283-5E3B-05B1-7389-1BBF9E297AB5}"/>
          </ac:spMkLst>
        </pc:spChg>
        <pc:spChg chg="add mod">
          <ac:chgData name="Marvin Mario Bullinger" userId="3bbe2cfe-6e8b-4ac1-8799-4ce6c696cdc9" providerId="ADAL" clId="{3360662A-8C3C-464A-9794-3A662C84026C}" dt="2024-11-27T07:10:45.651" v="1053"/>
          <ac:spMkLst>
            <pc:docMk/>
            <pc:sldMk cId="3864045237" sldId="669"/>
            <ac:spMk id="6" creationId="{BB70ACA2-19F8-B3C4-45D2-6B700B83B196}"/>
          </ac:spMkLst>
        </pc:spChg>
      </pc:sldChg>
      <pc:sldChg chg="addSp delSp modSp add mod modTransition">
        <pc:chgData name="Marvin Mario Bullinger" userId="3bbe2cfe-6e8b-4ac1-8799-4ce6c696cdc9" providerId="ADAL" clId="{3360662A-8C3C-464A-9794-3A662C84026C}" dt="2024-11-27T07:10:56.696" v="1057"/>
        <pc:sldMkLst>
          <pc:docMk/>
          <pc:sldMk cId="3082144491" sldId="670"/>
        </pc:sldMkLst>
        <pc:spChg chg="add mod">
          <ac:chgData name="Marvin Mario Bullinger" userId="3bbe2cfe-6e8b-4ac1-8799-4ce6c696cdc9" providerId="ADAL" clId="{3360662A-8C3C-464A-9794-3A662C84026C}" dt="2024-11-27T07:10:56.696" v="1057"/>
          <ac:spMkLst>
            <pc:docMk/>
            <pc:sldMk cId="3082144491" sldId="670"/>
            <ac:spMk id="2" creationId="{212A0D57-2003-B94A-4D0F-590A6DD7CCAD}"/>
          </ac:spMkLst>
        </pc:spChg>
        <pc:spChg chg="add del mod">
          <ac:chgData name="Marvin Mario Bullinger" userId="3bbe2cfe-6e8b-4ac1-8799-4ce6c696cdc9" providerId="ADAL" clId="{3360662A-8C3C-464A-9794-3A662C84026C}" dt="2024-11-27T07:10:56.450" v="1056" actId="478"/>
          <ac:spMkLst>
            <pc:docMk/>
            <pc:sldMk cId="3082144491" sldId="670"/>
            <ac:spMk id="4" creationId="{03ACE563-C48F-3F2E-D1F1-59D7F6F29189}"/>
          </ac:spMkLst>
        </pc:spChg>
        <pc:spChg chg="add mod">
          <ac:chgData name="Marvin Mario Bullinger" userId="3bbe2cfe-6e8b-4ac1-8799-4ce6c696cdc9" providerId="ADAL" clId="{3360662A-8C3C-464A-9794-3A662C84026C}" dt="2024-11-27T07:10:56.696" v="1057"/>
          <ac:spMkLst>
            <pc:docMk/>
            <pc:sldMk cId="3082144491" sldId="670"/>
            <ac:spMk id="5" creationId="{F90F7BC0-11AB-9A0F-3558-8E4B5CC487CA}"/>
          </ac:spMkLst>
        </pc:spChg>
      </pc:sldChg>
      <pc:sldChg chg="addSp delSp modSp add del mod">
        <pc:chgData name="Marvin Mario Bullinger" userId="3bbe2cfe-6e8b-4ac1-8799-4ce6c696cdc9" providerId="ADAL" clId="{3360662A-8C3C-464A-9794-3A662C84026C}" dt="2024-11-25T19:06:23.585" v="316" actId="47"/>
        <pc:sldMkLst>
          <pc:docMk/>
          <pc:sldMk cId="70906808" sldId="671"/>
        </pc:sldMkLst>
      </pc:sldChg>
      <pc:sldChg chg="addSp delSp modSp add mod modTransition">
        <pc:chgData name="Marvin Mario Bullinger" userId="3bbe2cfe-6e8b-4ac1-8799-4ce6c696cdc9" providerId="ADAL" clId="{3360662A-8C3C-464A-9794-3A662C84026C}" dt="2024-11-27T07:11:20.216" v="1065" actId="20577"/>
        <pc:sldMkLst>
          <pc:docMk/>
          <pc:sldMk cId="2404361622" sldId="672"/>
        </pc:sldMkLst>
        <pc:spChg chg="add mod">
          <ac:chgData name="Marvin Mario Bullinger" userId="3bbe2cfe-6e8b-4ac1-8799-4ce6c696cdc9" providerId="ADAL" clId="{3360662A-8C3C-464A-9794-3A662C84026C}" dt="2024-11-27T07:11:16.160" v="1063"/>
          <ac:spMkLst>
            <pc:docMk/>
            <pc:sldMk cId="2404361622" sldId="672"/>
            <ac:spMk id="2" creationId="{CCDEF594-FD74-CF09-E9E5-A10DBDEE0B05}"/>
          </ac:spMkLst>
        </pc:spChg>
        <pc:spChg chg="add del mod">
          <ac:chgData name="Marvin Mario Bullinger" userId="3bbe2cfe-6e8b-4ac1-8799-4ce6c696cdc9" providerId="ADAL" clId="{3360662A-8C3C-464A-9794-3A662C84026C}" dt="2024-11-27T07:11:15.839" v="1062" actId="478"/>
          <ac:spMkLst>
            <pc:docMk/>
            <pc:sldMk cId="2404361622" sldId="672"/>
            <ac:spMk id="3" creationId="{C7C4CAB6-DA6E-CBBA-607A-B24069E790DC}"/>
          </ac:spMkLst>
        </pc:spChg>
        <pc:spChg chg="add mod">
          <ac:chgData name="Marvin Mario Bullinger" userId="3bbe2cfe-6e8b-4ac1-8799-4ce6c696cdc9" providerId="ADAL" clId="{3360662A-8C3C-464A-9794-3A662C84026C}" dt="2024-11-27T07:11:20.216" v="1065" actId="20577"/>
          <ac:spMkLst>
            <pc:docMk/>
            <pc:sldMk cId="2404361622" sldId="672"/>
            <ac:spMk id="5" creationId="{CDD142E9-EB4E-523F-5596-611E5402FFB0}"/>
          </ac:spMkLst>
        </pc:spChg>
      </pc:sldChg>
      <pc:sldChg chg="addSp delSp modSp add mod modTransition">
        <pc:chgData name="Marvin Mario Bullinger" userId="3bbe2cfe-6e8b-4ac1-8799-4ce6c696cdc9" providerId="ADAL" clId="{3360662A-8C3C-464A-9794-3A662C84026C}" dt="2024-11-27T07:11:26.890" v="1069" actId="20577"/>
        <pc:sldMkLst>
          <pc:docMk/>
          <pc:sldMk cId="3233835741" sldId="673"/>
        </pc:sldMkLst>
        <pc:spChg chg="add mod">
          <ac:chgData name="Marvin Mario Bullinger" userId="3bbe2cfe-6e8b-4ac1-8799-4ce6c696cdc9" providerId="ADAL" clId="{3360662A-8C3C-464A-9794-3A662C84026C}" dt="2024-11-27T07:11:24.161" v="1067"/>
          <ac:spMkLst>
            <pc:docMk/>
            <pc:sldMk cId="3233835741" sldId="673"/>
            <ac:spMk id="2" creationId="{E6AB86B8-2C8D-5271-C1A3-1C089E40DD59}"/>
          </ac:spMkLst>
        </pc:spChg>
        <pc:spChg chg="add mod">
          <ac:chgData name="Marvin Mario Bullinger" userId="3bbe2cfe-6e8b-4ac1-8799-4ce6c696cdc9" providerId="ADAL" clId="{3360662A-8C3C-464A-9794-3A662C84026C}" dt="2024-11-27T07:11:26.890" v="1069" actId="20577"/>
          <ac:spMkLst>
            <pc:docMk/>
            <pc:sldMk cId="3233835741" sldId="673"/>
            <ac:spMk id="4" creationId="{090129B4-0B20-FD6F-54D0-19C9320D5F20}"/>
          </ac:spMkLst>
        </pc:spChg>
        <pc:spChg chg="add del">
          <ac:chgData name="Marvin Mario Bullinger" userId="3bbe2cfe-6e8b-4ac1-8799-4ce6c696cdc9" providerId="ADAL" clId="{3360662A-8C3C-464A-9794-3A662C84026C}" dt="2024-11-27T06:17:27.381" v="372" actId="478"/>
          <ac:spMkLst>
            <pc:docMk/>
            <pc:sldMk cId="3233835741" sldId="673"/>
            <ac:spMk id="4" creationId="{86768AFB-9052-3E5B-B04B-8AD63FFA24C7}"/>
          </ac:spMkLst>
        </pc:spChg>
        <pc:spChg chg="add del mod">
          <ac:chgData name="Marvin Mario Bullinger" userId="3bbe2cfe-6e8b-4ac1-8799-4ce6c696cdc9" providerId="ADAL" clId="{3360662A-8C3C-464A-9794-3A662C84026C}" dt="2024-11-27T07:11:23.840" v="1066" actId="478"/>
          <ac:spMkLst>
            <pc:docMk/>
            <pc:sldMk cId="3233835741" sldId="673"/>
            <ac:spMk id="5" creationId="{0610AB19-1BF3-76D3-95CB-A554095F0E71}"/>
          </ac:spMkLst>
        </pc:spChg>
      </pc:sldChg>
      <pc:sldChg chg="delSp add del mod">
        <pc:chgData name="Marvin Mario Bullinger" userId="3bbe2cfe-6e8b-4ac1-8799-4ce6c696cdc9" providerId="ADAL" clId="{3360662A-8C3C-464A-9794-3A662C84026C}" dt="2024-11-25T19:12:23.338" v="368" actId="47"/>
        <pc:sldMkLst>
          <pc:docMk/>
          <pc:sldMk cId="915898876" sldId="674"/>
        </pc:sldMkLst>
      </pc:sldChg>
      <pc:sldChg chg="delSp add mod">
        <pc:chgData name="Marvin Mario Bullinger" userId="3bbe2cfe-6e8b-4ac1-8799-4ce6c696cdc9" providerId="ADAL" clId="{3360662A-8C3C-464A-9794-3A662C84026C}" dt="2024-11-25T19:12:26.417" v="370" actId="478"/>
        <pc:sldMkLst>
          <pc:docMk/>
          <pc:sldMk cId="1970710320" sldId="674"/>
        </pc:sldMkLst>
      </pc:sldChg>
      <pc:sldChg chg="add del">
        <pc:chgData name="Marvin Mario Bullinger" userId="3bbe2cfe-6e8b-4ac1-8799-4ce6c696cdc9" providerId="ADAL" clId="{3360662A-8C3C-464A-9794-3A662C84026C}" dt="2024-11-25T19:07:05.388" v="331" actId="47"/>
        <pc:sldMkLst>
          <pc:docMk/>
          <pc:sldMk cId="2642234603" sldId="674"/>
        </pc:sldMkLst>
      </pc:sldChg>
      <pc:sldChg chg="addSp delSp modSp add mod modTransition">
        <pc:chgData name="Marvin Mario Bullinger" userId="3bbe2cfe-6e8b-4ac1-8799-4ce6c696cdc9" providerId="ADAL" clId="{3360662A-8C3C-464A-9794-3A662C84026C}" dt="2024-11-27T07:11:53.693" v="1132" actId="20577"/>
        <pc:sldMkLst>
          <pc:docMk/>
          <pc:sldMk cId="2852305473" sldId="677"/>
        </pc:sldMkLst>
        <pc:spChg chg="add mod">
          <ac:chgData name="Marvin Mario Bullinger" userId="3bbe2cfe-6e8b-4ac1-8799-4ce6c696cdc9" providerId="ADAL" clId="{3360662A-8C3C-464A-9794-3A662C84026C}" dt="2024-11-27T07:11:30.078" v="1070"/>
          <ac:spMkLst>
            <pc:docMk/>
            <pc:sldMk cId="2852305473" sldId="677"/>
            <ac:spMk id="3" creationId="{A359D416-9B13-F2C2-CA68-A9DB6D293943}"/>
          </ac:spMkLst>
        </pc:spChg>
        <pc:spChg chg="add mod">
          <ac:chgData name="Marvin Mario Bullinger" userId="3bbe2cfe-6e8b-4ac1-8799-4ce6c696cdc9" providerId="ADAL" clId="{3360662A-8C3C-464A-9794-3A662C84026C}" dt="2024-11-27T07:11:30.078" v="1070"/>
          <ac:spMkLst>
            <pc:docMk/>
            <pc:sldMk cId="2852305473" sldId="677"/>
            <ac:spMk id="4" creationId="{2493E1A0-FA26-2587-53DE-A0B87249E230}"/>
          </ac:spMkLst>
        </pc:spChg>
        <pc:spChg chg="del">
          <ac:chgData name="Marvin Mario Bullinger" userId="3bbe2cfe-6e8b-4ac1-8799-4ce6c696cdc9" providerId="ADAL" clId="{3360662A-8C3C-464A-9794-3A662C84026C}" dt="2024-11-27T07:11:33.667" v="1071" actId="478"/>
          <ac:spMkLst>
            <pc:docMk/>
            <pc:sldMk cId="2852305473" sldId="677"/>
            <ac:spMk id="5" creationId="{0610AB19-1BF3-76D3-95CB-A554095F0E71}"/>
          </ac:spMkLst>
        </pc:spChg>
        <pc:spChg chg="add mod">
          <ac:chgData name="Marvin Mario Bullinger" userId="3bbe2cfe-6e8b-4ac1-8799-4ce6c696cdc9" providerId="ADAL" clId="{3360662A-8C3C-464A-9794-3A662C84026C}" dt="2024-11-27T07:11:33.976" v="1072"/>
          <ac:spMkLst>
            <pc:docMk/>
            <pc:sldMk cId="2852305473" sldId="677"/>
            <ac:spMk id="7" creationId="{E27AFFF6-3C44-1DE6-AC11-E02DC32F42AB}"/>
          </ac:spMkLst>
        </pc:spChg>
        <pc:spChg chg="add mod">
          <ac:chgData name="Marvin Mario Bullinger" userId="3bbe2cfe-6e8b-4ac1-8799-4ce6c696cdc9" providerId="ADAL" clId="{3360662A-8C3C-464A-9794-3A662C84026C}" dt="2024-11-27T07:11:53.693" v="1132" actId="20577"/>
          <ac:spMkLst>
            <pc:docMk/>
            <pc:sldMk cId="2852305473" sldId="677"/>
            <ac:spMk id="8" creationId="{97F7D63F-BF62-2178-FB5D-FF3AED531D46}"/>
          </ac:spMkLst>
        </pc:spChg>
        <pc:graphicFrameChg chg="add mod modGraphic">
          <ac:chgData name="Marvin Mario Bullinger" userId="3bbe2cfe-6e8b-4ac1-8799-4ce6c696cdc9" providerId="ADAL" clId="{3360662A-8C3C-464A-9794-3A662C84026C}" dt="2024-11-27T06:30:44.384" v="454" actId="339"/>
          <ac:graphicFrameMkLst>
            <pc:docMk/>
            <pc:sldMk cId="2852305473" sldId="677"/>
            <ac:graphicFrameMk id="2" creationId="{8D7607A5-AFFC-737A-2E92-0E76FA52DCE1}"/>
          </ac:graphicFrameMkLst>
        </pc:graphicFrameChg>
        <pc:graphicFrameChg chg="del">
          <ac:chgData name="Marvin Mario Bullinger" userId="3bbe2cfe-6e8b-4ac1-8799-4ce6c696cdc9" providerId="ADAL" clId="{3360662A-8C3C-464A-9794-3A662C84026C}" dt="2024-11-27T06:26:46.364" v="391" actId="478"/>
          <ac:graphicFrameMkLst>
            <pc:docMk/>
            <pc:sldMk cId="2852305473" sldId="677"/>
            <ac:graphicFrameMk id="3" creationId="{8B6F9BC8-D1A4-00A6-C38C-6C544ECBD022}"/>
          </ac:graphicFrameMkLst>
        </pc:graphicFrameChg>
      </pc:sldChg>
      <pc:sldChg chg="delSp add del mod">
        <pc:chgData name="Marvin Mario Bullinger" userId="3bbe2cfe-6e8b-4ac1-8799-4ce6c696cdc9" providerId="ADAL" clId="{3360662A-8C3C-464A-9794-3A662C84026C}" dt="2024-11-27T06:26:34.347" v="389" actId="47"/>
        <pc:sldMkLst>
          <pc:docMk/>
          <pc:sldMk cId="2857217097" sldId="677"/>
        </pc:sldMkLst>
        <pc:graphicFrameChg chg="del">
          <ac:chgData name="Marvin Mario Bullinger" userId="3bbe2cfe-6e8b-4ac1-8799-4ce6c696cdc9" providerId="ADAL" clId="{3360662A-8C3C-464A-9794-3A662C84026C}" dt="2024-11-27T06:17:33.397" v="374" actId="478"/>
          <ac:graphicFrameMkLst>
            <pc:docMk/>
            <pc:sldMk cId="2857217097" sldId="677"/>
            <ac:graphicFrameMk id="3" creationId="{8B6F9BC8-D1A4-00A6-C38C-6C544ECBD022}"/>
          </ac:graphicFrameMkLst>
        </pc:graphicFrameChg>
      </pc:sldChg>
      <pc:sldChg chg="addSp delSp modSp add mod ord modShow">
        <pc:chgData name="Marvin Mario Bullinger" userId="3bbe2cfe-6e8b-4ac1-8799-4ce6c696cdc9" providerId="ADAL" clId="{3360662A-8C3C-464A-9794-3A662C84026C}" dt="2024-11-27T06:42:21.503" v="785"/>
        <pc:sldMkLst>
          <pc:docMk/>
          <pc:sldMk cId="2588591256" sldId="678"/>
        </pc:sldMkLst>
        <pc:graphicFrameChg chg="add mod modGraphic">
          <ac:chgData name="Marvin Mario Bullinger" userId="3bbe2cfe-6e8b-4ac1-8799-4ce6c696cdc9" providerId="ADAL" clId="{3360662A-8C3C-464A-9794-3A662C84026C}" dt="2024-11-27T06:35:47.665" v="476" actId="1076"/>
          <ac:graphicFrameMkLst>
            <pc:docMk/>
            <pc:sldMk cId="2588591256" sldId="678"/>
            <ac:graphicFrameMk id="5" creationId="{E38515B5-240A-BC78-79F9-DE9A3B8FDE44}"/>
          </ac:graphicFrameMkLst>
        </pc:graphicFrameChg>
        <pc:graphicFrameChg chg="add mod modGraphic">
          <ac:chgData name="Marvin Mario Bullinger" userId="3bbe2cfe-6e8b-4ac1-8799-4ce6c696cdc9" providerId="ADAL" clId="{3360662A-8C3C-464A-9794-3A662C84026C}" dt="2024-11-27T06:35:40.896" v="474" actId="14100"/>
          <ac:graphicFrameMkLst>
            <pc:docMk/>
            <pc:sldMk cId="2588591256" sldId="678"/>
            <ac:graphicFrameMk id="7" creationId="{E97F261A-D65C-4196-B874-70FBBDD486F7}"/>
          </ac:graphicFrameMkLst>
        </pc:graphicFrameChg>
        <pc:graphicFrameChg chg="add mod modGraphic">
          <ac:chgData name="Marvin Mario Bullinger" userId="3bbe2cfe-6e8b-4ac1-8799-4ce6c696cdc9" providerId="ADAL" clId="{3360662A-8C3C-464A-9794-3A662C84026C}" dt="2024-11-27T06:35:24.613" v="470" actId="339"/>
          <ac:graphicFrameMkLst>
            <pc:docMk/>
            <pc:sldMk cId="2588591256" sldId="678"/>
            <ac:graphicFrameMk id="8" creationId="{1B1A213B-63C3-41A8-7338-84D64998531E}"/>
          </ac:graphicFrameMkLst>
        </pc:graphicFrameChg>
        <pc:picChg chg="del">
          <ac:chgData name="Marvin Mario Bullinger" userId="3bbe2cfe-6e8b-4ac1-8799-4ce6c696cdc9" providerId="ADAL" clId="{3360662A-8C3C-464A-9794-3A662C84026C}" dt="2024-11-27T06:34:08.714" v="456" actId="478"/>
          <ac:picMkLst>
            <pc:docMk/>
            <pc:sldMk cId="2588591256" sldId="678"/>
            <ac:picMk id="3" creationId="{8BB254EE-82BB-2AE2-BF34-4CDC27D179AC}"/>
          </ac:picMkLst>
        </pc:picChg>
      </pc:sldChg>
      <pc:sldChg chg="delSp modSp add del mod">
        <pc:chgData name="Marvin Mario Bullinger" userId="3bbe2cfe-6e8b-4ac1-8799-4ce6c696cdc9" providerId="ADAL" clId="{3360662A-8C3C-464A-9794-3A662C84026C}" dt="2024-11-27T06:42:09.914" v="780" actId="47"/>
        <pc:sldMkLst>
          <pc:docMk/>
          <pc:sldMk cId="3753608419" sldId="679"/>
        </pc:sldMkLst>
        <pc:graphicFrameChg chg="del mod ord">
          <ac:chgData name="Marvin Mario Bullinger" userId="3bbe2cfe-6e8b-4ac1-8799-4ce6c696cdc9" providerId="ADAL" clId="{3360662A-8C3C-464A-9794-3A662C84026C}" dt="2024-11-27T06:42:05.006" v="778" actId="478"/>
          <ac:graphicFrameMkLst>
            <pc:docMk/>
            <pc:sldMk cId="3753608419" sldId="679"/>
            <ac:graphicFrameMk id="5" creationId="{E38515B5-240A-BC78-79F9-DE9A3B8FDE44}"/>
          </ac:graphicFrameMkLst>
        </pc:graphicFrameChg>
        <pc:graphicFrameChg chg="del mod ord">
          <ac:chgData name="Marvin Mario Bullinger" userId="3bbe2cfe-6e8b-4ac1-8799-4ce6c696cdc9" providerId="ADAL" clId="{3360662A-8C3C-464A-9794-3A662C84026C}" dt="2024-11-27T06:42:05.006" v="778" actId="478"/>
          <ac:graphicFrameMkLst>
            <pc:docMk/>
            <pc:sldMk cId="3753608419" sldId="679"/>
            <ac:graphicFrameMk id="7" creationId="{E97F261A-D65C-4196-B874-70FBBDD486F7}"/>
          </ac:graphicFrameMkLst>
        </pc:graphicFrameChg>
        <pc:graphicFrameChg chg="del mod ord">
          <ac:chgData name="Marvin Mario Bullinger" userId="3bbe2cfe-6e8b-4ac1-8799-4ce6c696cdc9" providerId="ADAL" clId="{3360662A-8C3C-464A-9794-3A662C84026C}" dt="2024-11-27T06:42:06.903" v="779" actId="478"/>
          <ac:graphicFrameMkLst>
            <pc:docMk/>
            <pc:sldMk cId="3753608419" sldId="679"/>
            <ac:graphicFrameMk id="8" creationId="{1B1A213B-63C3-41A8-7338-84D64998531E}"/>
          </ac:graphicFrameMkLst>
        </pc:graphicFrameChg>
      </pc:sldChg>
    </pc:docChg>
  </pc:docChgLst>
  <pc:docChgLst>
    <pc:chgData name="Aidan Landry" userId="3189a9fb-e89b-4b01-b295-b304ff3fadbb" providerId="ADAL" clId="{372E322C-CB27-4651-8364-DB5B5268344C}"/>
    <pc:docChg chg="undo custSel delSld modSld modSection">
      <pc:chgData name="Aidan Landry" userId="3189a9fb-e89b-4b01-b295-b304ff3fadbb" providerId="ADAL" clId="{372E322C-CB27-4651-8364-DB5B5268344C}" dt="2024-10-09T00:42:22.963" v="734"/>
      <pc:docMkLst>
        <pc:docMk/>
      </pc:docMkLst>
      <pc:sldChg chg="del">
        <pc:chgData name="Aidan Landry" userId="3189a9fb-e89b-4b01-b295-b304ff3fadbb" providerId="ADAL" clId="{372E322C-CB27-4651-8364-DB5B5268344C}" dt="2024-10-09T00:12:32.069" v="713" actId="47"/>
        <pc:sldMkLst>
          <pc:docMk/>
          <pc:sldMk cId="3672594058" sldId="614"/>
        </pc:sldMkLst>
      </pc:sldChg>
      <pc:sldChg chg="modSp mod">
        <pc:chgData name="Aidan Landry" userId="3189a9fb-e89b-4b01-b295-b304ff3fadbb" providerId="ADAL" clId="{372E322C-CB27-4651-8364-DB5B5268344C}" dt="2024-10-05T14:16:08.401" v="10" actId="20577"/>
        <pc:sldMkLst>
          <pc:docMk/>
          <pc:sldMk cId="211836646" sldId="650"/>
        </pc:sldMkLst>
      </pc:sldChg>
      <pc:sldChg chg="addSp modSp mod">
        <pc:chgData name="Aidan Landry" userId="3189a9fb-e89b-4b01-b295-b304ff3fadbb" providerId="ADAL" clId="{372E322C-CB27-4651-8364-DB5B5268344C}" dt="2024-10-05T14:52:56.245" v="651" actId="20577"/>
        <pc:sldMkLst>
          <pc:docMk/>
          <pc:sldMk cId="1533146030" sldId="651"/>
        </pc:sldMkLst>
        <pc:spChg chg="add mod">
          <ac:chgData name="Aidan Landry" userId="3189a9fb-e89b-4b01-b295-b304ff3fadbb" providerId="ADAL" clId="{372E322C-CB27-4651-8364-DB5B5268344C}" dt="2024-10-05T14:52:56.245" v="651" actId="20577"/>
          <ac:spMkLst>
            <pc:docMk/>
            <pc:sldMk cId="1533146030" sldId="651"/>
            <ac:spMk id="3" creationId="{B0FAD62E-2CD3-2E12-244C-3E8F06F44816}"/>
          </ac:spMkLst>
        </pc:spChg>
        <pc:picChg chg="mod">
          <ac:chgData name="Aidan Landry" userId="3189a9fb-e89b-4b01-b295-b304ff3fadbb" providerId="ADAL" clId="{372E322C-CB27-4651-8364-DB5B5268344C}" dt="2024-10-05T14:39:07.126" v="577" actId="1076"/>
          <ac:picMkLst>
            <pc:docMk/>
            <pc:sldMk cId="1533146030" sldId="651"/>
            <ac:picMk id="2" creationId="{D3EFF9B6-4275-4DF4-8FB6-1545493D3E43}"/>
          </ac:picMkLst>
        </pc:picChg>
      </pc:sldChg>
      <pc:sldChg chg="modSp mod">
        <pc:chgData name="Aidan Landry" userId="3189a9fb-e89b-4b01-b295-b304ff3fadbb" providerId="ADAL" clId="{372E322C-CB27-4651-8364-DB5B5268344C}" dt="2024-10-05T14:51:53.570" v="579" actId="313"/>
        <pc:sldMkLst>
          <pc:docMk/>
          <pc:sldMk cId="1787319496" sldId="652"/>
        </pc:sldMkLst>
      </pc:sldChg>
      <pc:sldChg chg="modSp mod">
        <pc:chgData name="Aidan Landry" userId="3189a9fb-e89b-4b01-b295-b304ff3fadbb" providerId="ADAL" clId="{372E322C-CB27-4651-8364-DB5B5268344C}" dt="2024-10-05T14:53:36.154" v="680" actId="20577"/>
        <pc:sldMkLst>
          <pc:docMk/>
          <pc:sldMk cId="3874982595" sldId="653"/>
        </pc:sldMkLst>
      </pc:sldChg>
      <pc:sldChg chg="addSp delSp modSp mod">
        <pc:chgData name="Aidan Landry" userId="3189a9fb-e89b-4b01-b295-b304ff3fadbb" providerId="ADAL" clId="{372E322C-CB27-4651-8364-DB5B5268344C}" dt="2024-10-05T14:54:00.073" v="712" actId="20577"/>
        <pc:sldMkLst>
          <pc:docMk/>
          <pc:sldMk cId="3402755058" sldId="662"/>
        </pc:sldMkLst>
        <pc:spChg chg="mod">
          <ac:chgData name="Aidan Landry" userId="3189a9fb-e89b-4b01-b295-b304ff3fadbb" providerId="ADAL" clId="{372E322C-CB27-4651-8364-DB5B5268344C}" dt="2024-10-05T14:16:21.265" v="11" actId="20577"/>
          <ac:spMkLst>
            <pc:docMk/>
            <pc:sldMk cId="3402755058" sldId="662"/>
            <ac:spMk id="2" creationId="{734C21C5-BBA6-E1E4-DFA4-175BC9E0A0A9}"/>
          </ac:spMkLst>
        </pc:spChg>
        <pc:spChg chg="add mod">
          <ac:chgData name="Aidan Landry" userId="3189a9fb-e89b-4b01-b295-b304ff3fadbb" providerId="ADAL" clId="{372E322C-CB27-4651-8364-DB5B5268344C}" dt="2024-10-05T14:53:10.890" v="679" actId="20577"/>
          <ac:spMkLst>
            <pc:docMk/>
            <pc:sldMk cId="3402755058" sldId="662"/>
            <ac:spMk id="66" creationId="{E0B822B0-B1CE-6A20-F8A5-049C02FB9828}"/>
          </ac:spMkLst>
        </pc:spChg>
      </pc:sldChg>
      <pc:sldChg chg="modSp mod">
        <pc:chgData name="Aidan Landry" userId="3189a9fb-e89b-4b01-b295-b304ff3fadbb" providerId="ADAL" clId="{372E322C-CB27-4651-8364-DB5B5268344C}" dt="2024-10-09T00:42:22.963" v="734"/>
        <pc:sldMkLst>
          <pc:docMk/>
          <pc:sldMk cId="2459506782" sldId="664"/>
        </pc:sldMkLst>
        <pc:spChg chg="mod">
          <ac:chgData name="Aidan Landry" userId="3189a9fb-e89b-4b01-b295-b304ff3fadbb" providerId="ADAL" clId="{372E322C-CB27-4651-8364-DB5B5268344C}" dt="2024-10-09T00:42:22.963" v="734"/>
          <ac:spMkLst>
            <pc:docMk/>
            <pc:sldMk cId="2459506782" sldId="664"/>
            <ac:spMk id="9" creationId="{D50D9609-BBD9-4FEE-3B92-0A63B6380EDC}"/>
          </ac:spMkLst>
        </pc:spChg>
      </pc:sldChg>
    </pc:docChg>
  </pc:docChgLst>
  <pc:docChgLst>
    <pc:chgData name="Leo Xing" userId="S::l7xing@uwaterloo.ca::092ea61f-c2f3-4c9c-8a83-cb04ba707769" providerId="AD" clId="Web-{23250839-7FED-D064-18F9-4F009996D2B6}"/>
    <pc:docChg chg="addSld delSld modSld modSection">
      <pc:chgData name="Leo Xing" userId="S::l7xing@uwaterloo.ca::092ea61f-c2f3-4c9c-8a83-cb04ba707769" providerId="AD" clId="Web-{23250839-7FED-D064-18F9-4F009996D2B6}" dt="2024-10-05T06:06:01.605" v="1225" actId="20577"/>
      <pc:docMkLst>
        <pc:docMk/>
      </pc:docMkLst>
      <pc:sldChg chg="addSp delSp modSp add del">
        <pc:chgData name="Leo Xing" userId="S::l7xing@uwaterloo.ca::092ea61f-c2f3-4c9c-8a83-cb04ba707769" providerId="AD" clId="Web-{23250839-7FED-D064-18F9-4F009996D2B6}" dt="2024-10-05T06:06:01.605" v="1225" actId="20577"/>
        <pc:sldMkLst>
          <pc:docMk/>
          <pc:sldMk cId="1787319496" sldId="652"/>
        </pc:sldMkLst>
      </pc:sldChg>
      <pc:sldChg chg="addSp delSp modSp new">
        <pc:chgData name="Leo Xing" userId="S::l7xing@uwaterloo.ca::092ea61f-c2f3-4c9c-8a83-cb04ba707769" providerId="AD" clId="Web-{23250839-7FED-D064-18F9-4F009996D2B6}" dt="2024-10-05T06:00:40.772" v="1081" actId="1076"/>
        <pc:sldMkLst>
          <pc:docMk/>
          <pc:sldMk cId="3071594886" sldId="663"/>
        </pc:sldMkLst>
      </pc:sldChg>
    </pc:docChg>
  </pc:docChgLst>
  <pc:docChgLst>
    <pc:chgData name="Luke Johnston" userId="7be5ec8b-ae88-4142-92f0-36c89b907afe" providerId="ADAL" clId="{3A4A5699-C172-4997-B05A-AF64049A91F3}"/>
    <pc:docChg chg="modSld">
      <pc:chgData name="Luke Johnston" userId="7be5ec8b-ae88-4142-92f0-36c89b907afe" providerId="ADAL" clId="{3A4A5699-C172-4997-B05A-AF64049A91F3}" dt="2024-11-26T16:49:27.537" v="18" actId="20577"/>
      <pc:docMkLst>
        <pc:docMk/>
      </pc:docMkLst>
      <pc:sldChg chg="modSp mod">
        <pc:chgData name="Luke Johnston" userId="7be5ec8b-ae88-4142-92f0-36c89b907afe" providerId="ADAL" clId="{3A4A5699-C172-4997-B05A-AF64049A91F3}" dt="2024-11-26T16:49:27.537" v="18" actId="20577"/>
        <pc:sldMkLst>
          <pc:docMk/>
          <pc:sldMk cId="1819382037" sldId="659"/>
        </pc:sldMkLst>
        <pc:spChg chg="mod">
          <ac:chgData name="Luke Johnston" userId="7be5ec8b-ae88-4142-92f0-36c89b907afe" providerId="ADAL" clId="{3A4A5699-C172-4997-B05A-AF64049A91F3}" dt="2024-11-26T16:49:27.537" v="18" actId="20577"/>
          <ac:spMkLst>
            <pc:docMk/>
            <pc:sldMk cId="1819382037" sldId="659"/>
            <ac:spMk id="3" creationId="{5FFDAB8C-6CB3-3BEE-3ED1-AF1B9EA7FA33}"/>
          </ac:spMkLst>
        </pc:spChg>
      </pc:sldChg>
      <pc:sldChg chg="modSp mod">
        <pc:chgData name="Luke Johnston" userId="7be5ec8b-ae88-4142-92f0-36c89b907afe" providerId="ADAL" clId="{3A4A5699-C172-4997-B05A-AF64049A91F3}" dt="2024-11-26T16:31:29.177" v="6" actId="207"/>
        <pc:sldMkLst>
          <pc:docMk/>
          <pc:sldMk cId="3402755058" sldId="662"/>
        </pc:sldMkLst>
        <pc:spChg chg="mod">
          <ac:chgData name="Luke Johnston" userId="7be5ec8b-ae88-4142-92f0-36c89b907afe" providerId="ADAL" clId="{3A4A5699-C172-4997-B05A-AF64049A91F3}" dt="2024-11-26T16:29:56.635" v="2" actId="14100"/>
          <ac:spMkLst>
            <pc:docMk/>
            <pc:sldMk cId="3402755058" sldId="662"/>
            <ac:spMk id="4" creationId="{853FDC43-39DC-57C9-5B88-F7AAAFBCD72A}"/>
          </ac:spMkLst>
        </pc:spChg>
        <pc:picChg chg="mod">
          <ac:chgData name="Luke Johnston" userId="7be5ec8b-ae88-4142-92f0-36c89b907afe" providerId="ADAL" clId="{3A4A5699-C172-4997-B05A-AF64049A91F3}" dt="2024-11-26T16:31:29.177" v="6" actId="207"/>
          <ac:picMkLst>
            <pc:docMk/>
            <pc:sldMk cId="3402755058" sldId="662"/>
            <ac:picMk id="3" creationId="{8BB254EE-82BB-2AE2-BF34-4CDC27D179AC}"/>
          </ac:picMkLst>
        </pc:picChg>
      </pc:sldChg>
    </pc:docChg>
  </pc:docChgLst>
  <pc:docChgLst>
    <pc:chgData name="Bullinger, Marvin" userId="5b54ce5a-dc89-476f-af33-5abd75d5b1e8" providerId="ADAL" clId="{B18DB96A-0F1B-4B04-B169-68D0DF683527}"/>
    <pc:docChg chg="undo redo custSel addSld delSld modSld sldOrd modMainMaster modSection replTag">
      <pc:chgData name="Bullinger, Marvin" userId="5b54ce5a-dc89-476f-af33-5abd75d5b1e8" providerId="ADAL" clId="{B18DB96A-0F1B-4B04-B169-68D0DF683527}" dt="2024-08-14T11:19:27.668" v="28967" actId="20577"/>
      <pc:docMkLst>
        <pc:docMk/>
      </pc:docMkLst>
      <pc:sldChg chg="addSp delSp modSp mod">
        <pc:chgData name="Bullinger, Marvin" userId="5b54ce5a-dc89-476f-af33-5abd75d5b1e8" providerId="ADAL" clId="{B18DB96A-0F1B-4B04-B169-68D0DF683527}" dt="2024-08-08T15:01:01.298" v="9206" actId="478"/>
        <pc:sldMkLst>
          <pc:docMk/>
          <pc:sldMk cId="3596866202" sldId="258"/>
        </pc:sldMkLst>
      </pc:sldChg>
      <pc:sldChg chg="addSp delSp modSp del mod modClrScheme chgLayout">
        <pc:chgData name="Bullinger, Marvin" userId="5b54ce5a-dc89-476f-af33-5abd75d5b1e8" providerId="ADAL" clId="{B18DB96A-0F1B-4B04-B169-68D0DF683527}" dt="2024-08-08T22:01:59.788" v="10016" actId="47"/>
        <pc:sldMkLst>
          <pc:docMk/>
          <pc:sldMk cId="3664439336" sldId="262"/>
        </pc:sldMkLst>
      </pc:sldChg>
      <pc:sldChg chg="addSp delSp modSp del mod modAnim">
        <pc:chgData name="Bullinger, Marvin" userId="5b54ce5a-dc89-476f-af33-5abd75d5b1e8" providerId="ADAL" clId="{B18DB96A-0F1B-4B04-B169-68D0DF683527}" dt="2024-08-05T18:47:20.154" v="400" actId="47"/>
        <pc:sldMkLst>
          <pc:docMk/>
          <pc:sldMk cId="2953579200" sldId="264"/>
        </pc:sldMkLst>
      </pc:sldChg>
      <pc:sldChg chg="del">
        <pc:chgData name="Bullinger, Marvin" userId="5b54ce5a-dc89-476f-af33-5abd75d5b1e8" providerId="ADAL" clId="{B18DB96A-0F1B-4B04-B169-68D0DF683527}" dt="2024-08-05T18:54:52.254" v="830" actId="47"/>
        <pc:sldMkLst>
          <pc:docMk/>
          <pc:sldMk cId="3814452180" sldId="266"/>
        </pc:sldMkLst>
      </pc:sldChg>
      <pc:sldChg chg="addSp delSp modSp mod delAnim modNotesTx">
        <pc:chgData name="Bullinger, Marvin" userId="5b54ce5a-dc89-476f-af33-5abd75d5b1e8" providerId="ADAL" clId="{B18DB96A-0F1B-4B04-B169-68D0DF683527}" dt="2024-08-14T11:19:27.668" v="28967" actId="20577"/>
        <pc:sldMkLst>
          <pc:docMk/>
          <pc:sldMk cId="2083976492" sldId="562"/>
        </pc:sldMkLst>
      </pc:sldChg>
      <pc:sldChg chg="del">
        <pc:chgData name="Bullinger, Marvin" userId="5b54ce5a-dc89-476f-af33-5abd75d5b1e8" providerId="ADAL" clId="{B18DB96A-0F1B-4B04-B169-68D0DF683527}" dt="2024-08-07T07:45:05.110" v="5961" actId="47"/>
        <pc:sldMkLst>
          <pc:docMk/>
          <pc:sldMk cId="1413071935" sldId="572"/>
        </pc:sldMkLst>
      </pc:sldChg>
      <pc:sldChg chg="addSp delSp modSp mod modNotesTx">
        <pc:chgData name="Bullinger, Marvin" userId="5b54ce5a-dc89-476f-af33-5abd75d5b1e8" providerId="ADAL" clId="{B18DB96A-0F1B-4B04-B169-68D0DF683527}" dt="2024-08-11T19:36:24.291" v="13546" actId="20577"/>
        <pc:sldMkLst>
          <pc:docMk/>
          <pc:sldMk cId="326362598" sldId="579"/>
        </pc:sldMkLst>
      </pc:sldChg>
      <pc:sldChg chg="addSp delSp modSp mod modNotesTx">
        <pc:chgData name="Bullinger, Marvin" userId="5b54ce5a-dc89-476f-af33-5abd75d5b1e8" providerId="ADAL" clId="{B18DB96A-0F1B-4B04-B169-68D0DF683527}" dt="2024-08-13T21:52:41.369" v="27437" actId="20577"/>
        <pc:sldMkLst>
          <pc:docMk/>
          <pc:sldMk cId="459806595" sldId="580"/>
        </pc:sldMkLst>
      </pc:sldChg>
      <pc:sldChg chg="del">
        <pc:chgData name="Bullinger, Marvin" userId="5b54ce5a-dc89-476f-af33-5abd75d5b1e8" providerId="ADAL" clId="{B18DB96A-0F1B-4B04-B169-68D0DF683527}" dt="2024-08-06T09:48:23.335" v="2259" actId="2696"/>
        <pc:sldMkLst>
          <pc:docMk/>
          <pc:sldMk cId="965765845" sldId="581"/>
        </pc:sldMkLst>
      </pc:sldChg>
      <pc:sldChg chg="addSp delSp modSp del mod">
        <pc:chgData name="Bullinger, Marvin" userId="5b54ce5a-dc89-476f-af33-5abd75d5b1e8" providerId="ADAL" clId="{B18DB96A-0F1B-4B04-B169-68D0DF683527}" dt="2024-08-09T18:18:07.800" v="11149" actId="47"/>
        <pc:sldMkLst>
          <pc:docMk/>
          <pc:sldMk cId="1339647628" sldId="586"/>
        </pc:sldMkLst>
      </pc:sldChg>
      <pc:sldChg chg="addSp delSp modSp mod">
        <pc:chgData name="Bullinger, Marvin" userId="5b54ce5a-dc89-476f-af33-5abd75d5b1e8" providerId="ADAL" clId="{B18DB96A-0F1B-4B04-B169-68D0DF683527}" dt="2024-08-08T22:17:42.645" v="10157" actId="478"/>
        <pc:sldMkLst>
          <pc:docMk/>
          <pc:sldMk cId="4264639648" sldId="595"/>
        </pc:sldMkLst>
      </pc:sldChg>
      <pc:sldChg chg="delSp del mod delAnim">
        <pc:chgData name="Bullinger, Marvin" userId="5b54ce5a-dc89-476f-af33-5abd75d5b1e8" providerId="ADAL" clId="{B18DB96A-0F1B-4B04-B169-68D0DF683527}" dt="2024-08-05T18:38:25.414" v="282" actId="47"/>
        <pc:sldMkLst>
          <pc:docMk/>
          <pc:sldMk cId="1733906716" sldId="600"/>
        </pc:sldMkLst>
      </pc:sldChg>
      <pc:sldChg chg="addSp delSp modSp mod modNotesTx">
        <pc:chgData name="Bullinger, Marvin" userId="5b54ce5a-dc89-476f-af33-5abd75d5b1e8" providerId="ADAL" clId="{B18DB96A-0F1B-4B04-B169-68D0DF683527}" dt="2024-08-13T15:16:45.652" v="26555" actId="478"/>
        <pc:sldMkLst>
          <pc:docMk/>
          <pc:sldMk cId="1803820397" sldId="604"/>
        </pc:sldMkLst>
      </pc:sldChg>
      <pc:sldChg chg="del">
        <pc:chgData name="Bullinger, Marvin" userId="5b54ce5a-dc89-476f-af33-5abd75d5b1e8" providerId="ADAL" clId="{B18DB96A-0F1B-4B04-B169-68D0DF683527}" dt="2024-08-05T18:54:53.761" v="831" actId="47"/>
        <pc:sldMkLst>
          <pc:docMk/>
          <pc:sldMk cId="410633608" sldId="606"/>
        </pc:sldMkLst>
      </pc:sldChg>
      <pc:sldChg chg="addSp delSp modSp mod ord modNotesTx">
        <pc:chgData name="Bullinger, Marvin" userId="5b54ce5a-dc89-476f-af33-5abd75d5b1e8" providerId="ADAL" clId="{B18DB96A-0F1B-4B04-B169-68D0DF683527}" dt="2024-08-13T15:17:10.112" v="26556" actId="478"/>
        <pc:sldMkLst>
          <pc:docMk/>
          <pc:sldMk cId="1824871312" sldId="610"/>
        </pc:sldMkLst>
      </pc:sldChg>
      <pc:sldChg chg="addSp delSp modSp mod modTransition modAnim modNotesTx">
        <pc:chgData name="Bullinger, Marvin" userId="5b54ce5a-dc89-476f-af33-5abd75d5b1e8" providerId="ADAL" clId="{B18DB96A-0F1B-4B04-B169-68D0DF683527}" dt="2024-08-13T21:58:02.989" v="27993" actId="20577"/>
        <pc:sldMkLst>
          <pc:docMk/>
          <pc:sldMk cId="4234233811" sldId="611"/>
        </pc:sldMkLst>
      </pc:sldChg>
      <pc:sldChg chg="delSp del mod">
        <pc:chgData name="Bullinger, Marvin" userId="5b54ce5a-dc89-476f-af33-5abd75d5b1e8" providerId="ADAL" clId="{B18DB96A-0F1B-4B04-B169-68D0DF683527}" dt="2024-08-07T09:39:48.833" v="6824" actId="47"/>
        <pc:sldMkLst>
          <pc:docMk/>
          <pc:sldMk cId="3768756170" sldId="612"/>
        </pc:sldMkLst>
      </pc:sldChg>
      <pc:sldChg chg="delSp del mod">
        <pc:chgData name="Bullinger, Marvin" userId="5b54ce5a-dc89-476f-af33-5abd75d5b1e8" providerId="ADAL" clId="{B18DB96A-0F1B-4B04-B169-68D0DF683527}" dt="2024-08-07T09:39:49.728" v="6825" actId="47"/>
        <pc:sldMkLst>
          <pc:docMk/>
          <pc:sldMk cId="3888348133" sldId="613"/>
        </pc:sldMkLst>
      </pc:sldChg>
      <pc:sldChg chg="delSp del mod">
        <pc:chgData name="Bullinger, Marvin" userId="5b54ce5a-dc89-476f-af33-5abd75d5b1e8" providerId="ADAL" clId="{B18DB96A-0F1B-4B04-B169-68D0DF683527}" dt="2024-08-05T15:16:32.131" v="75" actId="47"/>
        <pc:sldMkLst>
          <pc:docMk/>
          <pc:sldMk cId="67794375" sldId="614"/>
        </pc:sldMkLst>
      </pc:sldChg>
      <pc:sldChg chg="addSp delSp modSp add del mod delAnim modShow">
        <pc:chgData name="Bullinger, Marvin" userId="5b54ce5a-dc89-476f-af33-5abd75d5b1e8" providerId="ADAL" clId="{B18DB96A-0F1B-4B04-B169-68D0DF683527}" dt="2024-08-13T15:08:12.479" v="26512" actId="729"/>
        <pc:sldMkLst>
          <pc:docMk/>
          <pc:sldMk cId="3672594058" sldId="614"/>
        </pc:sldMkLst>
      </pc:sldChg>
      <pc:sldChg chg="addSp delSp modSp new mod ord modClrScheme chgLayout modNotesTx">
        <pc:chgData name="Bullinger, Marvin" userId="5b54ce5a-dc89-476f-af33-5abd75d5b1e8" providerId="ADAL" clId="{B18DB96A-0F1B-4B04-B169-68D0DF683527}" dt="2024-08-12T07:28:33.501" v="24398" actId="20577"/>
        <pc:sldMkLst>
          <pc:docMk/>
          <pc:sldMk cId="4285173817" sldId="615"/>
        </pc:sldMkLst>
      </pc:sldChg>
      <pc:sldChg chg="addSp delSp modSp new del mod modClrScheme delAnim modAnim chgLayout">
        <pc:chgData name="Bullinger, Marvin" userId="5b54ce5a-dc89-476f-af33-5abd75d5b1e8" providerId="ADAL" clId="{B18DB96A-0F1B-4B04-B169-68D0DF683527}" dt="2024-08-09T05:50:54.005" v="10445" actId="47"/>
        <pc:sldMkLst>
          <pc:docMk/>
          <pc:sldMk cId="2742629027" sldId="616"/>
        </pc:sldMkLst>
      </pc:sldChg>
      <pc:sldChg chg="addSp delSp modSp add del mod ord modAnim">
        <pc:chgData name="Bullinger, Marvin" userId="5b54ce5a-dc89-476f-af33-5abd75d5b1e8" providerId="ADAL" clId="{B18DB96A-0F1B-4B04-B169-68D0DF683527}" dt="2024-08-13T15:00:19.077" v="26378" actId="20577"/>
        <pc:sldMkLst>
          <pc:docMk/>
          <pc:sldMk cId="1664074779" sldId="617"/>
        </pc:sldMkLst>
      </pc:sldChg>
      <pc:sldChg chg="addSp modSp add del mod modAnim">
        <pc:chgData name="Bullinger, Marvin" userId="5b54ce5a-dc89-476f-af33-5abd75d5b1e8" providerId="ADAL" clId="{B18DB96A-0F1B-4B04-B169-68D0DF683527}" dt="2024-08-09T06:33:52.881" v="10891" actId="47"/>
        <pc:sldMkLst>
          <pc:docMk/>
          <pc:sldMk cId="2127501649" sldId="618"/>
        </pc:sldMkLst>
      </pc:sldChg>
      <pc:sldChg chg="addSp delSp modSp new del mod modClrScheme addAnim delAnim modAnim chgLayout">
        <pc:chgData name="Bullinger, Marvin" userId="5b54ce5a-dc89-476f-af33-5abd75d5b1e8" providerId="ADAL" clId="{B18DB96A-0F1B-4B04-B169-68D0DF683527}" dt="2024-08-08T11:42:08.312" v="8744" actId="47"/>
        <pc:sldMkLst>
          <pc:docMk/>
          <pc:sldMk cId="4277329764" sldId="619"/>
        </pc:sldMkLst>
      </pc:sldChg>
      <pc:sldChg chg="addSp delSp modSp add mod modAnim">
        <pc:chgData name="Bullinger, Marvin" userId="5b54ce5a-dc89-476f-af33-5abd75d5b1e8" providerId="ADAL" clId="{B18DB96A-0F1B-4B04-B169-68D0DF683527}" dt="2024-08-07T20:25:08.049" v="8143" actId="1036"/>
        <pc:sldMkLst>
          <pc:docMk/>
          <pc:sldMk cId="2130696095" sldId="620"/>
        </pc:sldMkLst>
      </pc:sldChg>
      <pc:sldChg chg="delSp modSp del mod">
        <pc:chgData name="Bullinger, Marvin" userId="5b54ce5a-dc89-476f-af33-5abd75d5b1e8" providerId="ADAL" clId="{B18DB96A-0F1B-4B04-B169-68D0DF683527}" dt="2024-08-06T09:48:24.513" v="2884" actId="2696"/>
        <pc:sldMkLst>
          <pc:docMk/>
          <pc:sldMk cId="1885596654" sldId="621"/>
        </pc:sldMkLst>
      </pc:sldChg>
      <pc:sldChg chg="new del">
        <pc:chgData name="Bullinger, Marvin" userId="5b54ce5a-dc89-476f-af33-5abd75d5b1e8" providerId="ADAL" clId="{B18DB96A-0F1B-4B04-B169-68D0DF683527}" dt="2024-08-05T19:43:25.462" v="1936" actId="47"/>
        <pc:sldMkLst>
          <pc:docMk/>
          <pc:sldMk cId="2051177188" sldId="621"/>
        </pc:sldMkLst>
      </pc:sldChg>
      <pc:sldChg chg="del">
        <pc:chgData name="Bullinger, Marvin" userId="5b54ce5a-dc89-476f-af33-5abd75d5b1e8" providerId="ADAL" clId="{B18DB96A-0F1B-4B04-B169-68D0DF683527}" dt="2024-08-06T09:48:24.497" v="2881" actId="2696"/>
        <pc:sldMkLst>
          <pc:docMk/>
          <pc:sldMk cId="2284461873" sldId="622"/>
        </pc:sldMkLst>
      </pc:sldChg>
      <pc:sldChg chg="del">
        <pc:chgData name="Bullinger, Marvin" userId="5b54ce5a-dc89-476f-af33-5abd75d5b1e8" providerId="ADAL" clId="{B18DB96A-0F1B-4B04-B169-68D0DF683527}" dt="2024-08-06T09:48:24.497" v="2880" actId="2696"/>
        <pc:sldMkLst>
          <pc:docMk/>
          <pc:sldMk cId="3042588058" sldId="623"/>
        </pc:sldMkLst>
      </pc:sldChg>
      <pc:sldChg chg="delSp modSp del mod replTag">
        <pc:chgData name="Bullinger, Marvin" userId="5b54ce5a-dc89-476f-af33-5abd75d5b1e8" providerId="ADAL" clId="{B18DB96A-0F1B-4B04-B169-68D0DF683527}" dt="2024-08-07T07:45:06.639" v="5962" actId="47"/>
        <pc:sldMkLst>
          <pc:docMk/>
          <pc:sldMk cId="318484148" sldId="624"/>
        </pc:sldMkLst>
      </pc:sldChg>
      <pc:sldChg chg="new del">
        <pc:chgData name="Bullinger, Marvin" userId="5b54ce5a-dc89-476f-af33-5abd75d5b1e8" providerId="ADAL" clId="{B18DB96A-0F1B-4B04-B169-68D0DF683527}" dt="2024-08-06T09:53:27.955" v="2989" actId="2696"/>
        <pc:sldMkLst>
          <pc:docMk/>
          <pc:sldMk cId="1585218130" sldId="625"/>
        </pc:sldMkLst>
      </pc:sldChg>
      <pc:sldChg chg="addSp delSp modSp new del mod modClrScheme chgLayout">
        <pc:chgData name="Bullinger, Marvin" userId="5b54ce5a-dc89-476f-af33-5abd75d5b1e8" providerId="ADAL" clId="{B18DB96A-0F1B-4B04-B169-68D0DF683527}" dt="2024-08-06T12:16:44.250" v="4410" actId="47"/>
        <pc:sldMkLst>
          <pc:docMk/>
          <pc:sldMk cId="2385845203" sldId="625"/>
        </pc:sldMkLst>
      </pc:sldChg>
      <pc:sldChg chg="modSp add del mod">
        <pc:chgData name="Bullinger, Marvin" userId="5b54ce5a-dc89-476f-af33-5abd75d5b1e8" providerId="ADAL" clId="{B18DB96A-0F1B-4B04-B169-68D0DF683527}" dt="2024-08-06T12:16:43.527" v="4409" actId="47"/>
        <pc:sldMkLst>
          <pc:docMk/>
          <pc:sldMk cId="4068106918" sldId="626"/>
        </pc:sldMkLst>
      </pc:sldChg>
      <pc:sldChg chg="modSp add del mod">
        <pc:chgData name="Bullinger, Marvin" userId="5b54ce5a-dc89-476f-af33-5abd75d5b1e8" providerId="ADAL" clId="{B18DB96A-0F1B-4B04-B169-68D0DF683527}" dt="2024-08-06T12:16:41.966" v="4408" actId="47"/>
        <pc:sldMkLst>
          <pc:docMk/>
          <pc:sldMk cId="2496421118" sldId="627"/>
        </pc:sldMkLst>
      </pc:sldChg>
      <pc:sldChg chg="new del">
        <pc:chgData name="Bullinger, Marvin" userId="5b54ce5a-dc89-476f-af33-5abd75d5b1e8" providerId="ADAL" clId="{B18DB96A-0F1B-4B04-B169-68D0DF683527}" dt="2024-08-06T12:03:14.768" v="4339" actId="47"/>
        <pc:sldMkLst>
          <pc:docMk/>
          <pc:sldMk cId="1000504507" sldId="628"/>
        </pc:sldMkLst>
      </pc:sldChg>
      <pc:sldChg chg="addSp delSp modSp add del mod ord addAnim delAnim modAnim">
        <pc:chgData name="Bullinger, Marvin" userId="5b54ce5a-dc89-476f-af33-5abd75d5b1e8" providerId="ADAL" clId="{B18DB96A-0F1B-4B04-B169-68D0DF683527}" dt="2024-08-07T20:20:47.718" v="7949" actId="47"/>
        <pc:sldMkLst>
          <pc:docMk/>
          <pc:sldMk cId="2455969618" sldId="629"/>
        </pc:sldMkLst>
      </pc:sldChg>
      <pc:sldChg chg="addSp delSp modSp new mod ord modClrScheme chgLayout modNotesTx">
        <pc:chgData name="Bullinger, Marvin" userId="5b54ce5a-dc89-476f-af33-5abd75d5b1e8" providerId="ADAL" clId="{B18DB96A-0F1B-4B04-B169-68D0DF683527}" dt="2024-08-13T21:44:54.087" v="26732" actId="20577"/>
        <pc:sldMkLst>
          <pc:docMk/>
          <pc:sldMk cId="4108023729" sldId="630"/>
        </pc:sldMkLst>
      </pc:sldChg>
      <pc:sldChg chg="addSp delSp modSp add mod modTransition delAnim modAnim modNotesTx">
        <pc:chgData name="Bullinger, Marvin" userId="5b54ce5a-dc89-476f-af33-5abd75d5b1e8" providerId="ADAL" clId="{B18DB96A-0F1B-4B04-B169-68D0DF683527}" dt="2024-08-13T21:44:46.168" v="26730" actId="20577"/>
        <pc:sldMkLst>
          <pc:docMk/>
          <pc:sldMk cId="1134739054" sldId="631"/>
        </pc:sldMkLst>
      </pc:sldChg>
      <pc:sldChg chg="addSp delSp modSp add mod delAnim modNotesTx">
        <pc:chgData name="Bullinger, Marvin" userId="5b54ce5a-dc89-476f-af33-5abd75d5b1e8" providerId="ADAL" clId="{B18DB96A-0F1B-4B04-B169-68D0DF683527}" dt="2024-08-13T21:49:45.600" v="27122" actId="20577"/>
        <pc:sldMkLst>
          <pc:docMk/>
          <pc:sldMk cId="3197800461" sldId="632"/>
        </pc:sldMkLst>
      </pc:sldChg>
      <pc:sldChg chg="addSp delSp modSp add mod modNotesTx">
        <pc:chgData name="Bullinger, Marvin" userId="5b54ce5a-dc89-476f-af33-5abd75d5b1e8" providerId="ADAL" clId="{B18DB96A-0F1B-4B04-B169-68D0DF683527}" dt="2024-08-13T21:51:03.960" v="27237" actId="20577"/>
        <pc:sldMkLst>
          <pc:docMk/>
          <pc:sldMk cId="2950531154" sldId="633"/>
        </pc:sldMkLst>
      </pc:sldChg>
      <pc:sldChg chg="modSp new del mod">
        <pc:chgData name="Bullinger, Marvin" userId="5b54ce5a-dc89-476f-af33-5abd75d5b1e8" providerId="ADAL" clId="{B18DB96A-0F1B-4B04-B169-68D0DF683527}" dt="2024-08-07T07:57:38.090" v="6000" actId="47"/>
        <pc:sldMkLst>
          <pc:docMk/>
          <pc:sldMk cId="202817384" sldId="634"/>
        </pc:sldMkLst>
      </pc:sldChg>
      <pc:sldChg chg="addSp delSp modSp add mod modNotesTx">
        <pc:chgData name="Bullinger, Marvin" userId="5b54ce5a-dc89-476f-af33-5abd75d5b1e8" providerId="ADAL" clId="{B18DB96A-0F1B-4B04-B169-68D0DF683527}" dt="2024-08-13T21:52:06.923" v="27387" actId="20577"/>
        <pc:sldMkLst>
          <pc:docMk/>
          <pc:sldMk cId="1385473652" sldId="635"/>
        </pc:sldMkLst>
      </pc:sldChg>
      <pc:sldChg chg="add del">
        <pc:chgData name="Bullinger, Marvin" userId="5b54ce5a-dc89-476f-af33-5abd75d5b1e8" providerId="ADAL" clId="{B18DB96A-0F1B-4B04-B169-68D0DF683527}" dt="2024-08-07T07:46:00.697" v="5975" actId="47"/>
        <pc:sldMkLst>
          <pc:docMk/>
          <pc:sldMk cId="2646013661" sldId="635"/>
        </pc:sldMkLst>
      </pc:sldChg>
      <pc:sldChg chg="new del">
        <pc:chgData name="Bullinger, Marvin" userId="5b54ce5a-dc89-476f-af33-5abd75d5b1e8" providerId="ADAL" clId="{B18DB96A-0F1B-4B04-B169-68D0DF683527}" dt="2024-08-07T07:46:22.213" v="5980" actId="47"/>
        <pc:sldMkLst>
          <pc:docMk/>
          <pc:sldMk cId="2757079582" sldId="635"/>
        </pc:sldMkLst>
      </pc:sldChg>
      <pc:sldChg chg="add del">
        <pc:chgData name="Bullinger, Marvin" userId="5b54ce5a-dc89-476f-af33-5abd75d5b1e8" providerId="ADAL" clId="{B18DB96A-0F1B-4B04-B169-68D0DF683527}" dt="2024-08-07T07:46:01.579" v="5976" actId="47"/>
        <pc:sldMkLst>
          <pc:docMk/>
          <pc:sldMk cId="1571711245" sldId="636"/>
        </pc:sldMkLst>
      </pc:sldChg>
      <pc:sldChg chg="addSp delSp modSp add mod modNotesTx">
        <pc:chgData name="Bullinger, Marvin" userId="5b54ce5a-dc89-476f-af33-5abd75d5b1e8" providerId="ADAL" clId="{B18DB96A-0F1B-4B04-B169-68D0DF683527}" dt="2024-08-13T21:52:22.423" v="27389" actId="20577"/>
        <pc:sldMkLst>
          <pc:docMk/>
          <pc:sldMk cId="2673565317" sldId="636"/>
        </pc:sldMkLst>
      </pc:sldChg>
      <pc:sldChg chg="new del">
        <pc:chgData name="Bullinger, Marvin" userId="5b54ce5a-dc89-476f-af33-5abd75d5b1e8" providerId="ADAL" clId="{B18DB96A-0F1B-4B04-B169-68D0DF683527}" dt="2024-08-07T07:46:21.285" v="5979" actId="47"/>
        <pc:sldMkLst>
          <pc:docMk/>
          <pc:sldMk cId="2751019155" sldId="636"/>
        </pc:sldMkLst>
      </pc:sldChg>
      <pc:sldChg chg="addSp delSp modSp add mod ord modShow">
        <pc:chgData name="Bullinger, Marvin" userId="5b54ce5a-dc89-476f-af33-5abd75d5b1e8" providerId="ADAL" clId="{B18DB96A-0F1B-4B04-B169-68D0DF683527}" dt="2024-08-08T11:46:02.830" v="8779" actId="20577"/>
        <pc:sldMkLst>
          <pc:docMk/>
          <pc:sldMk cId="2266583018" sldId="637"/>
        </pc:sldMkLst>
      </pc:sldChg>
      <pc:sldChg chg="add del">
        <pc:chgData name="Bullinger, Marvin" userId="5b54ce5a-dc89-476f-af33-5abd75d5b1e8" providerId="ADAL" clId="{B18DB96A-0F1B-4B04-B169-68D0DF683527}" dt="2024-08-07T07:57:36.820" v="5999" actId="47"/>
        <pc:sldMkLst>
          <pc:docMk/>
          <pc:sldMk cId="1097028072" sldId="638"/>
        </pc:sldMkLst>
      </pc:sldChg>
      <pc:sldChg chg="addSp delSp modSp new del mod">
        <pc:chgData name="Bullinger, Marvin" userId="5b54ce5a-dc89-476f-af33-5abd75d5b1e8" providerId="ADAL" clId="{B18DB96A-0F1B-4B04-B169-68D0DF683527}" dt="2024-08-07T08:39:55.867" v="6038" actId="47"/>
        <pc:sldMkLst>
          <pc:docMk/>
          <pc:sldMk cId="550296031" sldId="639"/>
        </pc:sldMkLst>
      </pc:sldChg>
      <pc:sldChg chg="addSp modSp add del mod modAnim">
        <pc:chgData name="Bullinger, Marvin" userId="5b54ce5a-dc89-476f-af33-5abd75d5b1e8" providerId="ADAL" clId="{B18DB96A-0F1B-4B04-B169-68D0DF683527}" dt="2024-08-08T11:42:30.630" v="8746" actId="47"/>
        <pc:sldMkLst>
          <pc:docMk/>
          <pc:sldMk cId="273479857" sldId="640"/>
        </pc:sldMkLst>
      </pc:sldChg>
      <pc:sldChg chg="addSp delSp modSp add del mod">
        <pc:chgData name="Bullinger, Marvin" userId="5b54ce5a-dc89-476f-af33-5abd75d5b1e8" providerId="ADAL" clId="{B18DB96A-0F1B-4B04-B169-68D0DF683527}" dt="2024-08-08T09:27:17.067" v="8163" actId="47"/>
        <pc:sldMkLst>
          <pc:docMk/>
          <pc:sldMk cId="2901491397" sldId="641"/>
        </pc:sldMkLst>
      </pc:sldChg>
      <pc:sldChg chg="modSp add del mod">
        <pc:chgData name="Bullinger, Marvin" userId="5b54ce5a-dc89-476f-af33-5abd75d5b1e8" providerId="ADAL" clId="{B18DB96A-0F1B-4B04-B169-68D0DF683527}" dt="2024-08-08T11:42:34.434" v="8747" actId="47"/>
        <pc:sldMkLst>
          <pc:docMk/>
          <pc:sldMk cId="2101671969" sldId="642"/>
        </pc:sldMkLst>
      </pc:sldChg>
      <pc:sldChg chg="addSp delSp modSp add mod modTransition modNotesTx">
        <pc:chgData name="Bullinger, Marvin" userId="5b54ce5a-dc89-476f-af33-5abd75d5b1e8" providerId="ADAL" clId="{B18DB96A-0F1B-4B04-B169-68D0DF683527}" dt="2024-08-13T22:00:34.636" v="28247" actId="5793"/>
        <pc:sldMkLst>
          <pc:docMk/>
          <pc:sldMk cId="1262355509" sldId="643"/>
        </pc:sldMkLst>
      </pc:sldChg>
      <pc:sldChg chg="delSp modSp del mod">
        <pc:chgData name="Bullinger, Marvin" userId="5b54ce5a-dc89-476f-af33-5abd75d5b1e8" providerId="ADAL" clId="{B18DB96A-0F1B-4B04-B169-68D0DF683527}" dt="2024-08-07T20:14:36.218" v="7773" actId="2696"/>
        <pc:sldMkLst>
          <pc:docMk/>
          <pc:sldMk cId="1479339587" sldId="644"/>
        </pc:sldMkLst>
      </pc:sldChg>
      <pc:sldChg chg="del">
        <pc:chgData name="Bullinger, Marvin" userId="5b54ce5a-dc89-476f-af33-5abd75d5b1e8" providerId="ADAL" clId="{B18DB96A-0F1B-4B04-B169-68D0DF683527}" dt="2024-08-07T20:14:36.218" v="7770" actId="2696"/>
        <pc:sldMkLst>
          <pc:docMk/>
          <pc:sldMk cId="435972662" sldId="645"/>
        </pc:sldMkLst>
      </pc:sldChg>
      <pc:sldChg chg="del">
        <pc:chgData name="Bullinger, Marvin" userId="5b54ce5a-dc89-476f-af33-5abd75d5b1e8" providerId="ADAL" clId="{B18DB96A-0F1B-4B04-B169-68D0DF683527}" dt="2024-08-07T20:14:36.214" v="7769" actId="2696"/>
        <pc:sldMkLst>
          <pc:docMk/>
          <pc:sldMk cId="3658015742" sldId="646"/>
        </pc:sldMkLst>
      </pc:sldChg>
      <pc:sldChg chg="delSp modSp add del mod replTag">
        <pc:chgData name="Bullinger, Marvin" userId="5b54ce5a-dc89-476f-af33-5abd75d5b1e8" providerId="ADAL" clId="{B18DB96A-0F1B-4B04-B169-68D0DF683527}" dt="2024-08-09T06:00:46.303" v="10542" actId="47"/>
        <pc:sldMkLst>
          <pc:docMk/>
          <pc:sldMk cId="2243780600" sldId="647"/>
        </pc:sldMkLst>
      </pc:sldChg>
      <pc:sldChg chg="addSp delSp modSp add mod modTransition modNotesTx">
        <pc:chgData name="Bullinger, Marvin" userId="5b54ce5a-dc89-476f-af33-5abd75d5b1e8" providerId="ADAL" clId="{B18DB96A-0F1B-4B04-B169-68D0DF683527}" dt="2024-08-13T22:05:50.120" v="28414" actId="20577"/>
        <pc:sldMkLst>
          <pc:docMk/>
          <pc:sldMk cId="2186703549" sldId="648"/>
        </pc:sldMkLst>
      </pc:sldChg>
      <pc:sldChg chg="delSp modSp add del mod">
        <pc:chgData name="Bullinger, Marvin" userId="5b54ce5a-dc89-476f-af33-5abd75d5b1e8" providerId="ADAL" clId="{B18DB96A-0F1B-4B04-B169-68D0DF683527}" dt="2024-08-07T20:23:18.112" v="8110" actId="47"/>
        <pc:sldMkLst>
          <pc:docMk/>
          <pc:sldMk cId="3003609888" sldId="648"/>
        </pc:sldMkLst>
      </pc:sldChg>
      <pc:sldChg chg="new del">
        <pc:chgData name="Bullinger, Marvin" userId="5b54ce5a-dc89-476f-af33-5abd75d5b1e8" providerId="ADAL" clId="{B18DB96A-0F1B-4B04-B169-68D0DF683527}" dt="2024-08-07T20:19:50.736" v="7945" actId="680"/>
        <pc:sldMkLst>
          <pc:docMk/>
          <pc:sldMk cId="3378122809" sldId="648"/>
        </pc:sldMkLst>
      </pc:sldChg>
      <pc:sldChg chg="new del">
        <pc:chgData name="Bullinger, Marvin" userId="5b54ce5a-dc89-476f-af33-5abd75d5b1e8" providerId="ADAL" clId="{B18DB96A-0F1B-4B04-B169-68D0DF683527}" dt="2024-08-07T20:22:48.241" v="8107" actId="47"/>
        <pc:sldMkLst>
          <pc:docMk/>
          <pc:sldMk cId="778244258" sldId="649"/>
        </pc:sldMkLst>
      </pc:sldChg>
      <pc:sldChg chg="addSp delSp modSp add mod delAnim modAnim modNotesTx">
        <pc:chgData name="Bullinger, Marvin" userId="5b54ce5a-dc89-476f-af33-5abd75d5b1e8" providerId="ADAL" clId="{B18DB96A-0F1B-4B04-B169-68D0DF683527}" dt="2024-08-13T21:47:18.972" v="26854" actId="20577"/>
        <pc:sldMkLst>
          <pc:docMk/>
          <pc:sldMk cId="3159847066" sldId="649"/>
        </pc:sldMkLst>
      </pc:sldChg>
      <pc:sldChg chg="new del">
        <pc:chgData name="Bullinger, Marvin" userId="5b54ce5a-dc89-476f-af33-5abd75d5b1e8" providerId="ADAL" clId="{B18DB96A-0F1B-4B04-B169-68D0DF683527}" dt="2024-08-07T20:23:34.359" v="8114" actId="47"/>
        <pc:sldMkLst>
          <pc:docMk/>
          <pc:sldMk cId="3744268745" sldId="649"/>
        </pc:sldMkLst>
      </pc:sldChg>
      <pc:sldChg chg="addSp delSp modSp new mod modNotesTx">
        <pc:chgData name="Bullinger, Marvin" userId="5b54ce5a-dc89-476f-af33-5abd75d5b1e8" providerId="ADAL" clId="{B18DB96A-0F1B-4B04-B169-68D0DF683527}" dt="2024-08-11T19:31:59.789" v="13095" actId="20577"/>
        <pc:sldMkLst>
          <pc:docMk/>
          <pc:sldMk cId="211836646" sldId="650"/>
        </pc:sldMkLst>
      </pc:sldChg>
      <pc:sldChg chg="new del">
        <pc:chgData name="Bullinger, Marvin" userId="5b54ce5a-dc89-476f-af33-5abd75d5b1e8" providerId="ADAL" clId="{B18DB96A-0F1B-4B04-B169-68D0DF683527}" dt="2024-08-08T15:03:37.744" v="9470" actId="680"/>
        <pc:sldMkLst>
          <pc:docMk/>
          <pc:sldMk cId="1748373902" sldId="650"/>
        </pc:sldMkLst>
      </pc:sldChg>
      <pc:sldChg chg="new del">
        <pc:chgData name="Bullinger, Marvin" userId="5b54ce5a-dc89-476f-af33-5abd75d5b1e8" providerId="ADAL" clId="{B18DB96A-0F1B-4B04-B169-68D0DF683527}" dt="2024-08-08T13:41:49.072" v="9142" actId="680"/>
        <pc:sldMkLst>
          <pc:docMk/>
          <pc:sldMk cId="1795240976" sldId="650"/>
        </pc:sldMkLst>
      </pc:sldChg>
      <pc:sldChg chg="new del">
        <pc:chgData name="Bullinger, Marvin" userId="5b54ce5a-dc89-476f-af33-5abd75d5b1e8" providerId="ADAL" clId="{B18DB96A-0F1B-4B04-B169-68D0DF683527}" dt="2024-08-08T15:03:55.462" v="9473" actId="680"/>
        <pc:sldMkLst>
          <pc:docMk/>
          <pc:sldMk cId="3727387685" sldId="650"/>
        </pc:sldMkLst>
      </pc:sldChg>
      <pc:sldChg chg="new del">
        <pc:chgData name="Bullinger, Marvin" userId="5b54ce5a-dc89-476f-af33-5abd75d5b1e8" providerId="ADAL" clId="{B18DB96A-0F1B-4B04-B169-68D0DF683527}" dt="2024-08-09T05:47:10.310" v="10435" actId="680"/>
        <pc:sldMkLst>
          <pc:docMk/>
          <pc:sldMk cId="1165313126" sldId="651"/>
        </pc:sldMkLst>
      </pc:sldChg>
      <pc:sldChg chg="addSp delSp modSp add del mod delAnim modAnim">
        <pc:chgData name="Bullinger, Marvin" userId="5b54ce5a-dc89-476f-af33-5abd75d5b1e8" providerId="ADAL" clId="{B18DB96A-0F1B-4B04-B169-68D0DF683527}" dt="2024-08-09T18:40:01.462" v="11361" actId="47"/>
        <pc:sldMkLst>
          <pc:docMk/>
          <pc:sldMk cId="1790948260" sldId="651"/>
        </pc:sldMkLst>
      </pc:sldChg>
      <pc:sldChg chg="new del">
        <pc:chgData name="Bullinger, Marvin" userId="5b54ce5a-dc89-476f-af33-5abd75d5b1e8" providerId="ADAL" clId="{B18DB96A-0F1B-4B04-B169-68D0DF683527}" dt="2024-08-09T05:49:57.138" v="10439" actId="47"/>
        <pc:sldMkLst>
          <pc:docMk/>
          <pc:sldMk cId="3833239583" sldId="651"/>
        </pc:sldMkLst>
      </pc:sldChg>
      <pc:sldChg chg="addSp delSp modSp add mod addAnim delAnim modAnim modNotesTx">
        <pc:chgData name="Bullinger, Marvin" userId="5b54ce5a-dc89-476f-af33-5abd75d5b1e8" providerId="ADAL" clId="{B18DB96A-0F1B-4B04-B169-68D0DF683527}" dt="2024-08-13T06:43:31.841" v="25583" actId="20577"/>
        <pc:sldMkLst>
          <pc:docMk/>
          <pc:sldMk cId="1743979101" sldId="652"/>
        </pc:sldMkLst>
      </pc:sldChg>
      <pc:sldChg chg="addSp delSp modSp add mod">
        <pc:chgData name="Bullinger, Marvin" userId="5b54ce5a-dc89-476f-af33-5abd75d5b1e8" providerId="ADAL" clId="{B18DB96A-0F1B-4B04-B169-68D0DF683527}" dt="2024-08-13T15:00:07.094" v="26362" actId="20577"/>
        <pc:sldMkLst>
          <pc:docMk/>
          <pc:sldMk cId="950309191" sldId="653"/>
        </pc:sldMkLst>
      </pc:sldChg>
      <pc:sldChg chg="addSp delSp modSp add mod modAnim modNotesTx">
        <pc:chgData name="Bullinger, Marvin" userId="5b54ce5a-dc89-476f-af33-5abd75d5b1e8" providerId="ADAL" clId="{B18DB96A-0F1B-4B04-B169-68D0DF683527}" dt="2024-08-13T15:11:51.150" v="26513" actId="732"/>
        <pc:sldMkLst>
          <pc:docMk/>
          <pc:sldMk cId="407075054" sldId="654"/>
        </pc:sldMkLst>
      </pc:sldChg>
      <pc:sldChg chg="new del">
        <pc:chgData name="Bullinger, Marvin" userId="5b54ce5a-dc89-476f-af33-5abd75d5b1e8" providerId="ADAL" clId="{B18DB96A-0F1B-4B04-B169-68D0DF683527}" dt="2024-08-10T12:03:45.373" v="12055" actId="680"/>
        <pc:sldMkLst>
          <pc:docMk/>
          <pc:sldMk cId="1717848149" sldId="655"/>
        </pc:sldMkLst>
      </pc:sldChg>
      <pc:sldChg chg="addSp delSp modSp add mod delAnim modAnim modNotesTx">
        <pc:chgData name="Bullinger, Marvin" userId="5b54ce5a-dc89-476f-af33-5abd75d5b1e8" providerId="ADAL" clId="{B18DB96A-0F1B-4B04-B169-68D0DF683527}" dt="2024-08-13T15:15:32.279" v="26553" actId="1038"/>
        <pc:sldMkLst>
          <pc:docMk/>
          <pc:sldMk cId="3383019256" sldId="655"/>
        </pc:sldMkLst>
      </pc:sldChg>
      <pc:sldChg chg="new del">
        <pc:chgData name="Bullinger, Marvin" userId="5b54ce5a-dc89-476f-af33-5abd75d5b1e8" providerId="ADAL" clId="{B18DB96A-0F1B-4B04-B169-68D0DF683527}" dt="2024-08-10T11:22:26.166" v="12053" actId="680"/>
        <pc:sldMkLst>
          <pc:docMk/>
          <pc:sldMk cId="3667076966" sldId="655"/>
        </pc:sldMkLst>
      </pc:sldChg>
      <pc:sldChg chg="addSp delSp modSp add del mod modTransition addAnim delAnim">
        <pc:chgData name="Bullinger, Marvin" userId="5b54ce5a-dc89-476f-af33-5abd75d5b1e8" providerId="ADAL" clId="{B18DB96A-0F1B-4B04-B169-68D0DF683527}" dt="2024-08-11T14:39:23.026" v="12769" actId="47"/>
        <pc:sldMkLst>
          <pc:docMk/>
          <pc:sldMk cId="1685760646" sldId="656"/>
        </pc:sldMkLst>
      </pc:sldChg>
      <pc:sldChg chg="addSp modSp new mod">
        <pc:chgData name="Bullinger, Marvin" userId="5b54ce5a-dc89-476f-af33-5abd75d5b1e8" providerId="ADAL" clId="{B18DB96A-0F1B-4B04-B169-68D0DF683527}" dt="2024-08-13T14:41:58.296" v="26296" actId="1076"/>
        <pc:sldMkLst>
          <pc:docMk/>
          <pc:sldMk cId="1995518795" sldId="656"/>
        </pc:sldMkLst>
      </pc:sldChg>
      <pc:sldChg chg="addSp delSp modSp add mod">
        <pc:chgData name="Bullinger, Marvin" userId="5b54ce5a-dc89-476f-af33-5abd75d5b1e8" providerId="ADAL" clId="{B18DB96A-0F1B-4B04-B169-68D0DF683527}" dt="2024-08-10T20:57:17.295" v="12676" actId="12788"/>
        <pc:sldMkLst>
          <pc:docMk/>
          <pc:sldMk cId="3832929857" sldId="656"/>
        </pc:sldMkLst>
      </pc:sldChg>
      <pc:sldChg chg="addSp delSp modSp new mod">
        <pc:chgData name="Bullinger, Marvin" userId="5b54ce5a-dc89-476f-af33-5abd75d5b1e8" providerId="ADAL" clId="{B18DB96A-0F1B-4B04-B169-68D0DF683527}" dt="2024-08-13T15:00:26.843" v="26381" actId="20577"/>
        <pc:sldMkLst>
          <pc:docMk/>
          <pc:sldMk cId="2040393096" sldId="657"/>
        </pc:sldMkLst>
      </pc:sldChg>
      <pc:sldMasterChg chg="modSldLayout">
        <pc:chgData name="Bullinger, Marvin" userId="5b54ce5a-dc89-476f-af33-5abd75d5b1e8" providerId="ADAL" clId="{B18DB96A-0F1B-4B04-B169-68D0DF683527}" dt="2024-08-08T22:17:26.963" v="10154" actId="1036"/>
        <pc:sldMasterMkLst>
          <pc:docMk/>
          <pc:sldMasterMk cId="2846167297" sldId="2147483677"/>
        </pc:sldMasterMkLst>
        <pc:sldLayoutChg chg="addSp delSp modSp mod">
          <pc:chgData name="Bullinger, Marvin" userId="5b54ce5a-dc89-476f-af33-5abd75d5b1e8" providerId="ADAL" clId="{B18DB96A-0F1B-4B04-B169-68D0DF683527}" dt="2024-08-08T22:00:18.359" v="9968"/>
          <pc:sldLayoutMkLst>
            <pc:docMk/>
            <pc:sldMasterMk cId="2846167297" sldId="2147483677"/>
            <pc:sldLayoutMk cId="2552064348" sldId="2147483679"/>
          </pc:sldLayoutMkLst>
        </pc:sldLayoutChg>
        <pc:sldLayoutChg chg="addSp delSp modSp mod">
          <pc:chgData name="Bullinger, Marvin" userId="5b54ce5a-dc89-476f-af33-5abd75d5b1e8" providerId="ADAL" clId="{B18DB96A-0F1B-4B04-B169-68D0DF683527}" dt="2024-08-08T22:00:22.837" v="9970"/>
          <pc:sldLayoutMkLst>
            <pc:docMk/>
            <pc:sldMasterMk cId="2846167297" sldId="2147483677"/>
            <pc:sldLayoutMk cId="3747579019" sldId="2147483680"/>
          </pc:sldLayoutMkLst>
        </pc:sldLayoutChg>
        <pc:sldLayoutChg chg="modSp mod">
          <pc:chgData name="Bullinger, Marvin" userId="5b54ce5a-dc89-476f-af33-5abd75d5b1e8" providerId="ADAL" clId="{B18DB96A-0F1B-4B04-B169-68D0DF683527}" dt="2024-08-08T22:17:26.963" v="10154" actId="1036"/>
          <pc:sldLayoutMkLst>
            <pc:docMk/>
            <pc:sldMasterMk cId="2846167297" sldId="2147483677"/>
            <pc:sldLayoutMk cId="1595020198" sldId="2147483687"/>
          </pc:sldLayoutMkLst>
        </pc:sldLayoutChg>
        <pc:sldLayoutChg chg="addSp delSp modSp mod">
          <pc:chgData name="Bullinger, Marvin" userId="5b54ce5a-dc89-476f-af33-5abd75d5b1e8" providerId="ADAL" clId="{B18DB96A-0F1B-4B04-B169-68D0DF683527}" dt="2024-08-08T22:17:25.628" v="10151" actId="478"/>
          <pc:sldLayoutMkLst>
            <pc:docMk/>
            <pc:sldMasterMk cId="2846167297" sldId="2147483677"/>
            <pc:sldLayoutMk cId="110751718" sldId="2147483688"/>
          </pc:sldLayoutMkLst>
        </pc:sldLayoutChg>
        <pc:sldLayoutChg chg="addSp delSp modSp mod">
          <pc:chgData name="Bullinger, Marvin" userId="5b54ce5a-dc89-476f-af33-5abd75d5b1e8" providerId="ADAL" clId="{B18DB96A-0F1B-4B04-B169-68D0DF683527}" dt="2024-08-08T22:17:24.828" v="10150" actId="478"/>
          <pc:sldLayoutMkLst>
            <pc:docMk/>
            <pc:sldMasterMk cId="2846167297" sldId="2147483677"/>
            <pc:sldLayoutMk cId="3106629754" sldId="2147483689"/>
          </pc:sldLayoutMkLst>
        </pc:sldLayoutChg>
        <pc:sldLayoutChg chg="addSp delSp modSp mod">
          <pc:chgData name="Bullinger, Marvin" userId="5b54ce5a-dc89-476f-af33-5abd75d5b1e8" providerId="ADAL" clId="{B18DB96A-0F1B-4B04-B169-68D0DF683527}" dt="2024-08-08T22:17:24.091" v="10149" actId="478"/>
          <pc:sldLayoutMkLst>
            <pc:docMk/>
            <pc:sldMasterMk cId="2846167297" sldId="2147483677"/>
            <pc:sldLayoutMk cId="2393614516" sldId="2147483690"/>
          </pc:sldLayoutMkLst>
        </pc:sldLayoutChg>
        <pc:sldLayoutChg chg="addSp delSp modSp mod">
          <pc:chgData name="Bullinger, Marvin" userId="5b54ce5a-dc89-476f-af33-5abd75d5b1e8" providerId="ADAL" clId="{B18DB96A-0F1B-4B04-B169-68D0DF683527}" dt="2024-08-08T22:17:23.039" v="10148" actId="478"/>
          <pc:sldLayoutMkLst>
            <pc:docMk/>
            <pc:sldMasterMk cId="2846167297" sldId="2147483677"/>
            <pc:sldLayoutMk cId="3736544426" sldId="2147483691"/>
          </pc:sldLayoutMkLst>
        </pc:sldLayoutChg>
        <pc:sldLayoutChg chg="addSp delSp modSp mod">
          <pc:chgData name="Bullinger, Marvin" userId="5b54ce5a-dc89-476f-af33-5abd75d5b1e8" providerId="ADAL" clId="{B18DB96A-0F1B-4B04-B169-68D0DF683527}" dt="2024-08-08T15:02:28.215" v="9462" actId="1038"/>
          <pc:sldLayoutMkLst>
            <pc:docMk/>
            <pc:sldMasterMk cId="2846167297" sldId="2147483677"/>
            <pc:sldLayoutMk cId="816259686" sldId="2147483701"/>
          </pc:sldLayoutMkLst>
        </pc:sldLayoutChg>
      </pc:sldMasterChg>
    </pc:docChg>
  </pc:docChgLst>
  <pc:docChgLst>
    <pc:chgData name="Leo Xing" userId="S::l7xing@uwaterloo.ca::092ea61f-c2f3-4c9c-8a83-cb04ba707769" providerId="AD" clId="Web-{0C323344-9959-0D31-4392-FE666D88C442}"/>
    <pc:docChg chg="modSld">
      <pc:chgData name="Leo Xing" userId="S::l7xing@uwaterloo.ca::092ea61f-c2f3-4c9c-8a83-cb04ba707769" providerId="AD" clId="Web-{0C323344-9959-0D31-4392-FE666D88C442}" dt="2024-10-07T03:58:23.291" v="1" actId="14100"/>
      <pc:docMkLst>
        <pc:docMk/>
      </pc:docMkLst>
      <pc:sldChg chg="modSp">
        <pc:chgData name="Leo Xing" userId="S::l7xing@uwaterloo.ca::092ea61f-c2f3-4c9c-8a83-cb04ba707769" providerId="AD" clId="Web-{0C323344-9959-0D31-4392-FE666D88C442}" dt="2024-10-07T03:58:23.291" v="1" actId="14100"/>
        <pc:sldMkLst>
          <pc:docMk/>
          <pc:sldMk cId="1787319496" sldId="652"/>
        </pc:sldMkLst>
      </pc:sldChg>
    </pc:docChg>
  </pc:docChgLst>
  <pc:docChgLst>
    <pc:chgData name="Marvin Mario Bullinger" userId="S::mmbullin@uwaterloo.ca::3bbe2cfe-6e8b-4ac1-8799-4ce6c696cdc9" providerId="AD" clId="Web-{60147FD2-4866-76B6-3028-7EF3BDFFEC5C}"/>
    <pc:docChg chg="addSld delSld modSld sldOrd modSection">
      <pc:chgData name="Marvin Mario Bullinger" userId="S::mmbullin@uwaterloo.ca::3bbe2cfe-6e8b-4ac1-8799-4ce6c696cdc9" providerId="AD" clId="Web-{60147FD2-4866-76B6-3028-7EF3BDFFEC5C}" dt="2024-10-03T20:15:42.745" v="241" actId="20577"/>
      <pc:docMkLst>
        <pc:docMk/>
      </pc:docMkLst>
      <pc:sldChg chg="modSp">
        <pc:chgData name="Marvin Mario Bullinger" userId="S::mmbullin@uwaterloo.ca::3bbe2cfe-6e8b-4ac1-8799-4ce6c696cdc9" providerId="AD" clId="Web-{60147FD2-4866-76B6-3028-7EF3BDFFEC5C}" dt="2024-10-03T20:12:52.856" v="198" actId="20577"/>
        <pc:sldMkLst>
          <pc:docMk/>
          <pc:sldMk cId="326362598" sldId="579"/>
        </pc:sldMkLst>
        <pc:spChg chg="mod">
          <ac:chgData name="Marvin Mario Bullinger" userId="S::mmbullin@uwaterloo.ca::3bbe2cfe-6e8b-4ac1-8799-4ce6c696cdc9" providerId="AD" clId="Web-{60147FD2-4866-76B6-3028-7EF3BDFFEC5C}" dt="2024-10-03T20:04:28.706" v="15" actId="20577"/>
          <ac:spMkLst>
            <pc:docMk/>
            <pc:sldMk cId="326362598" sldId="579"/>
            <ac:spMk id="798" creationId="{1A2D9CAD-706A-5E36-FFFD-2822F5DA7876}"/>
          </ac:spMkLst>
        </pc:spChg>
        <pc:spChg chg="mod">
          <ac:chgData name="Marvin Mario Bullinger" userId="S::mmbullin@uwaterloo.ca::3bbe2cfe-6e8b-4ac1-8799-4ce6c696cdc9" providerId="AD" clId="Web-{60147FD2-4866-76B6-3028-7EF3BDFFEC5C}" dt="2024-10-03T20:04:51.862" v="33" actId="20577"/>
          <ac:spMkLst>
            <pc:docMk/>
            <pc:sldMk cId="326362598" sldId="579"/>
            <ac:spMk id="801" creationId="{F82AA610-2B09-5601-C3A3-5B8B2E5F35C5}"/>
          </ac:spMkLst>
        </pc:spChg>
        <pc:spChg chg="mod">
          <ac:chgData name="Marvin Mario Bullinger" userId="S::mmbullin@uwaterloo.ca::3bbe2cfe-6e8b-4ac1-8799-4ce6c696cdc9" providerId="AD" clId="Web-{60147FD2-4866-76B6-3028-7EF3BDFFEC5C}" dt="2024-10-03T20:12:52.856" v="198" actId="20577"/>
          <ac:spMkLst>
            <pc:docMk/>
            <pc:sldMk cId="326362598" sldId="579"/>
            <ac:spMk id="804" creationId="{C1A38F07-47D0-7F74-2B4C-CA6A7F73BD5E}"/>
          </ac:spMkLst>
        </pc:spChg>
        <pc:spChg chg="mod">
          <ac:chgData name="Marvin Mario Bullinger" userId="S::mmbullin@uwaterloo.ca::3bbe2cfe-6e8b-4ac1-8799-4ce6c696cdc9" providerId="AD" clId="Web-{60147FD2-4866-76B6-3028-7EF3BDFFEC5C}" dt="2024-10-03T20:11:54.951" v="170" actId="20577"/>
          <ac:spMkLst>
            <pc:docMk/>
            <pc:sldMk cId="326362598" sldId="579"/>
            <ac:spMk id="807" creationId="{6B17833B-654D-8F9D-D27D-998975499230}"/>
          </ac:spMkLst>
        </pc:spChg>
        <pc:spChg chg="mod">
          <ac:chgData name="Marvin Mario Bullinger" userId="S::mmbullin@uwaterloo.ca::3bbe2cfe-6e8b-4ac1-8799-4ce6c696cdc9" providerId="AD" clId="Web-{60147FD2-4866-76B6-3028-7EF3BDFFEC5C}" dt="2024-10-03T20:05:44.502" v="84" actId="20577"/>
          <ac:spMkLst>
            <pc:docMk/>
            <pc:sldMk cId="326362598" sldId="579"/>
            <ac:spMk id="810" creationId="{2CBA4727-7EFA-E68D-392F-D8E68EE9DE2E}"/>
          </ac:spMkLst>
        </pc:spChg>
      </pc:sldChg>
      <pc:sldChg chg="modSp">
        <pc:chgData name="Marvin Mario Bullinger" userId="S::mmbullin@uwaterloo.ca::3bbe2cfe-6e8b-4ac1-8799-4ce6c696cdc9" providerId="AD" clId="Web-{60147FD2-4866-76B6-3028-7EF3BDFFEC5C}" dt="2024-10-03T20:06:44.876" v="102" actId="20577"/>
        <pc:sldMkLst>
          <pc:docMk/>
          <pc:sldMk cId="211836646" sldId="650"/>
        </pc:sldMkLst>
      </pc:sldChg>
      <pc:sldChg chg="modSp">
        <pc:chgData name="Marvin Mario Bullinger" userId="S::mmbullin@uwaterloo.ca::3bbe2cfe-6e8b-4ac1-8799-4ce6c696cdc9" providerId="AD" clId="Web-{60147FD2-4866-76B6-3028-7EF3BDFFEC5C}" dt="2024-10-03T20:07:50.923" v="125" actId="20577"/>
        <pc:sldMkLst>
          <pc:docMk/>
          <pc:sldMk cId="1533146030" sldId="651"/>
        </pc:sldMkLst>
        <pc:spChg chg="mod">
          <ac:chgData name="Marvin Mario Bullinger" userId="S::mmbullin@uwaterloo.ca::3bbe2cfe-6e8b-4ac1-8799-4ce6c696cdc9" providerId="AD" clId="Web-{60147FD2-4866-76B6-3028-7EF3BDFFEC5C}" dt="2024-10-03T20:06:00.768" v="98" actId="20577"/>
          <ac:spMkLst>
            <pc:docMk/>
            <pc:sldMk cId="1533146030" sldId="651"/>
            <ac:spMk id="42" creationId="{C7E757C5-03D1-1F7C-8394-C9FB4BCDFB61}"/>
          </ac:spMkLst>
        </pc:spChg>
        <pc:spChg chg="mod">
          <ac:chgData name="Marvin Mario Bullinger" userId="S::mmbullin@uwaterloo.ca::3bbe2cfe-6e8b-4ac1-8799-4ce6c696cdc9" providerId="AD" clId="Web-{60147FD2-4866-76B6-3028-7EF3BDFFEC5C}" dt="2024-10-03T20:07:50.923" v="125" actId="20577"/>
          <ac:spMkLst>
            <pc:docMk/>
            <pc:sldMk cId="1533146030" sldId="651"/>
            <ac:spMk id="44" creationId="{9A0D7DE8-29FE-08C8-D01C-97334E84F4D3}"/>
          </ac:spMkLst>
        </pc:spChg>
      </pc:sldChg>
      <pc:sldChg chg="modSp">
        <pc:chgData name="Marvin Mario Bullinger" userId="S::mmbullin@uwaterloo.ca::3bbe2cfe-6e8b-4ac1-8799-4ce6c696cdc9" providerId="AD" clId="Web-{60147FD2-4866-76B6-3028-7EF3BDFFEC5C}" dt="2024-10-03T20:07:14.032" v="123" actId="20577"/>
        <pc:sldMkLst>
          <pc:docMk/>
          <pc:sldMk cId="1787319496" sldId="652"/>
        </pc:sldMkLst>
      </pc:sldChg>
      <pc:sldChg chg="modSp ord">
        <pc:chgData name="Marvin Mario Bullinger" userId="S::mmbullin@uwaterloo.ca::3bbe2cfe-6e8b-4ac1-8799-4ce6c696cdc9" providerId="AD" clId="Web-{60147FD2-4866-76B6-3028-7EF3BDFFEC5C}" dt="2024-10-03T20:14:08.855" v="222" actId="20577"/>
        <pc:sldMkLst>
          <pc:docMk/>
          <pc:sldMk cId="3874982595" sldId="653"/>
        </pc:sldMkLst>
      </pc:sldChg>
      <pc:sldChg chg="modSp">
        <pc:chgData name="Marvin Mario Bullinger" userId="S::mmbullin@uwaterloo.ca::3bbe2cfe-6e8b-4ac1-8799-4ce6c696cdc9" providerId="AD" clId="Web-{60147FD2-4866-76B6-3028-7EF3BDFFEC5C}" dt="2024-10-03T20:12:44.622" v="190" actId="20577"/>
        <pc:sldMkLst>
          <pc:docMk/>
          <pc:sldMk cId="994611207" sldId="654"/>
        </pc:sldMkLst>
      </pc:sldChg>
      <pc:sldChg chg="modSp del">
        <pc:chgData name="Marvin Mario Bullinger" userId="S::mmbullin@uwaterloo.ca::3bbe2cfe-6e8b-4ac1-8799-4ce6c696cdc9" providerId="AD" clId="Web-{60147FD2-4866-76B6-3028-7EF3BDFFEC5C}" dt="2024-10-03T20:13:56.043" v="209"/>
        <pc:sldMkLst>
          <pc:docMk/>
          <pc:sldMk cId="914361629" sldId="655"/>
        </pc:sldMkLst>
      </pc:sldChg>
      <pc:sldChg chg="add del replId">
        <pc:chgData name="Marvin Mario Bullinger" userId="S::mmbullin@uwaterloo.ca::3bbe2cfe-6e8b-4ac1-8799-4ce6c696cdc9" providerId="AD" clId="Web-{60147FD2-4866-76B6-3028-7EF3BDFFEC5C}" dt="2024-10-03T20:11:27.795" v="167"/>
        <pc:sldMkLst>
          <pc:docMk/>
          <pc:sldMk cId="1110934274" sldId="656"/>
        </pc:sldMkLst>
      </pc:sldChg>
      <pc:sldChg chg="del">
        <pc:chgData name="Marvin Mario Bullinger" userId="S::mmbullin@uwaterloo.ca::3bbe2cfe-6e8b-4ac1-8799-4ce6c696cdc9" providerId="AD" clId="Web-{60147FD2-4866-76B6-3028-7EF3BDFFEC5C}" dt="2024-10-03T20:08:47.953" v="149"/>
        <pc:sldMkLst>
          <pc:docMk/>
          <pc:sldMk cId="4107695891" sldId="656"/>
        </pc:sldMkLst>
      </pc:sldChg>
      <pc:sldChg chg="modSp add replId">
        <pc:chgData name="Marvin Mario Bullinger" userId="S::mmbullin@uwaterloo.ca::3bbe2cfe-6e8b-4ac1-8799-4ce6c696cdc9" providerId="AD" clId="Web-{60147FD2-4866-76B6-3028-7EF3BDFFEC5C}" dt="2024-10-03T20:13:10.216" v="202" actId="20577"/>
        <pc:sldMkLst>
          <pc:docMk/>
          <pc:sldMk cId="1274719457" sldId="657"/>
        </pc:sldMkLst>
      </pc:sldChg>
      <pc:sldChg chg="add del replId">
        <pc:chgData name="Marvin Mario Bullinger" userId="S::mmbullin@uwaterloo.ca::3bbe2cfe-6e8b-4ac1-8799-4ce6c696cdc9" providerId="AD" clId="Web-{60147FD2-4866-76B6-3028-7EF3BDFFEC5C}" dt="2024-10-03T20:13:54.621" v="208"/>
        <pc:sldMkLst>
          <pc:docMk/>
          <pc:sldMk cId="3720128894" sldId="658"/>
        </pc:sldMkLst>
      </pc:sldChg>
      <pc:sldChg chg="add replId">
        <pc:chgData name="Marvin Mario Bullinger" userId="S::mmbullin@uwaterloo.ca::3bbe2cfe-6e8b-4ac1-8799-4ce6c696cdc9" providerId="AD" clId="Web-{60147FD2-4866-76B6-3028-7EF3BDFFEC5C}" dt="2024-10-03T20:13:31.684" v="204"/>
        <pc:sldMkLst>
          <pc:docMk/>
          <pc:sldMk cId="1819382037" sldId="659"/>
        </pc:sldMkLst>
      </pc:sldChg>
      <pc:sldChg chg="modSp add replId">
        <pc:chgData name="Marvin Mario Bullinger" userId="S::mmbullin@uwaterloo.ca::3bbe2cfe-6e8b-4ac1-8799-4ce6c696cdc9" providerId="AD" clId="Web-{60147FD2-4866-76B6-3028-7EF3BDFFEC5C}" dt="2024-10-03T20:15:18.323" v="229" actId="20577"/>
        <pc:sldMkLst>
          <pc:docMk/>
          <pc:sldMk cId="2135841358" sldId="660"/>
        </pc:sldMkLst>
      </pc:sldChg>
      <pc:sldChg chg="add del replId">
        <pc:chgData name="Marvin Mario Bullinger" userId="S::mmbullin@uwaterloo.ca::3bbe2cfe-6e8b-4ac1-8799-4ce6c696cdc9" providerId="AD" clId="Web-{60147FD2-4866-76B6-3028-7EF3BDFFEC5C}" dt="2024-10-03T20:13:32.293" v="206"/>
        <pc:sldMkLst>
          <pc:docMk/>
          <pc:sldMk cId="3046388548" sldId="660"/>
        </pc:sldMkLst>
      </pc:sldChg>
      <pc:sldChg chg="addSp delSp modSp add replId">
        <pc:chgData name="Marvin Mario Bullinger" userId="S::mmbullin@uwaterloo.ca::3bbe2cfe-6e8b-4ac1-8799-4ce6c696cdc9" providerId="AD" clId="Web-{60147FD2-4866-76B6-3028-7EF3BDFFEC5C}" dt="2024-10-03T20:15:42.745" v="241" actId="20577"/>
        <pc:sldMkLst>
          <pc:docMk/>
          <pc:sldMk cId="223390664" sldId="661"/>
        </pc:sldMkLst>
      </pc:sldChg>
    </pc:docChg>
  </pc:docChgLst>
  <pc:docChgLst>
    <pc:chgData name="Leo Xing" userId="S::l7xing@uwaterloo.ca::092ea61f-c2f3-4c9c-8a83-cb04ba707769" providerId="AD" clId="Web-{5A11AA8C-C576-D7D0-B9A5-13A435E65FB1}"/>
    <pc:docChg chg="addSld modSld modSection">
      <pc:chgData name="Leo Xing" userId="S::l7xing@uwaterloo.ca::092ea61f-c2f3-4c9c-8a83-cb04ba707769" providerId="AD" clId="Web-{5A11AA8C-C576-D7D0-B9A5-13A435E65FB1}" dt="2024-11-26T01:00:54.099" v="980" actId="1076"/>
      <pc:docMkLst>
        <pc:docMk/>
      </pc:docMkLst>
      <pc:sldChg chg="addSp delSp modSp">
        <pc:chgData name="Leo Xing" userId="S::l7xing@uwaterloo.ca::092ea61f-c2f3-4c9c-8a83-cb04ba707769" providerId="AD" clId="Web-{5A11AA8C-C576-D7D0-B9A5-13A435E65FB1}" dt="2024-11-25T22:02:24.257" v="465" actId="1076"/>
        <pc:sldMkLst>
          <pc:docMk/>
          <pc:sldMk cId="1970710320" sldId="674"/>
        </pc:sldMkLst>
        <pc:spChg chg="add mod">
          <ac:chgData name="Leo Xing" userId="S::l7xing@uwaterloo.ca::092ea61f-c2f3-4c9c-8a83-cb04ba707769" providerId="AD" clId="Web-{5A11AA8C-C576-D7D0-B9A5-13A435E65FB1}" dt="2024-11-25T21:40:05.055" v="51"/>
          <ac:spMkLst>
            <pc:docMk/>
            <pc:sldMk cId="1970710320" sldId="674"/>
            <ac:spMk id="4" creationId="{DE911476-5663-C607-C633-D8D99DA610AE}"/>
          </ac:spMkLst>
        </pc:spChg>
        <pc:spChg chg="mod">
          <ac:chgData name="Leo Xing" userId="S::l7xing@uwaterloo.ca::092ea61f-c2f3-4c9c-8a83-cb04ba707769" providerId="AD" clId="Web-{5A11AA8C-C576-D7D0-B9A5-13A435E65FB1}" dt="2024-11-25T21:37:26.143" v="20" actId="20577"/>
          <ac:spMkLst>
            <pc:docMk/>
            <pc:sldMk cId="1970710320" sldId="674"/>
            <ac:spMk id="5" creationId="{0610AB19-1BF3-76D3-95CB-A554095F0E71}"/>
          </ac:spMkLst>
        </pc:spChg>
        <pc:spChg chg="add mod">
          <ac:chgData name="Leo Xing" userId="S::l7xing@uwaterloo.ca::092ea61f-c2f3-4c9c-8a83-cb04ba707769" providerId="AD" clId="Web-{5A11AA8C-C576-D7D0-B9A5-13A435E65FB1}" dt="2024-11-25T21:42:01.871" v="71" actId="1076"/>
          <ac:spMkLst>
            <pc:docMk/>
            <pc:sldMk cId="1970710320" sldId="674"/>
            <ac:spMk id="8" creationId="{A0174860-EF8A-3918-ED46-02D3CFA4BEC5}"/>
          </ac:spMkLst>
        </pc:spChg>
        <pc:spChg chg="add mod">
          <ac:chgData name="Leo Xing" userId="S::l7xing@uwaterloo.ca::092ea61f-c2f3-4c9c-8a83-cb04ba707769" providerId="AD" clId="Web-{5A11AA8C-C576-D7D0-B9A5-13A435E65FB1}" dt="2024-11-25T21:57:57.342" v="396" actId="20577"/>
          <ac:spMkLst>
            <pc:docMk/>
            <pc:sldMk cId="1970710320" sldId="674"/>
            <ac:spMk id="11" creationId="{F53FF460-3F71-9C9C-C648-56A52E1CF55F}"/>
          </ac:spMkLst>
        </pc:spChg>
        <pc:spChg chg="add mod">
          <ac:chgData name="Leo Xing" userId="S::l7xing@uwaterloo.ca::092ea61f-c2f3-4c9c-8a83-cb04ba707769" providerId="AD" clId="Web-{5A11AA8C-C576-D7D0-B9A5-13A435E65FB1}" dt="2024-11-25T22:02:24.257" v="465" actId="1076"/>
          <ac:spMkLst>
            <pc:docMk/>
            <pc:sldMk cId="1970710320" sldId="674"/>
            <ac:spMk id="12" creationId="{15EC5375-91D9-C9A3-7A8E-5DFA5FC9377E}"/>
          </ac:spMkLst>
        </pc:spChg>
        <pc:picChg chg="add mod modCrop">
          <ac:chgData name="Leo Xing" userId="S::l7xing@uwaterloo.ca::092ea61f-c2f3-4c9c-8a83-cb04ba707769" providerId="AD" clId="Web-{5A11AA8C-C576-D7D0-B9A5-13A435E65FB1}" dt="2024-11-25T21:53:08.035" v="322" actId="1076"/>
          <ac:picMkLst>
            <pc:docMk/>
            <pc:sldMk cId="1970710320" sldId="674"/>
            <ac:picMk id="9" creationId="{53AA6E3D-CBEB-7C2B-4EA7-A25D52F8176E}"/>
          </ac:picMkLst>
        </pc:picChg>
        <pc:picChg chg="add mod">
          <ac:chgData name="Leo Xing" userId="S::l7xing@uwaterloo.ca::092ea61f-c2f3-4c9c-8a83-cb04ba707769" providerId="AD" clId="Web-{5A11AA8C-C576-D7D0-B9A5-13A435E65FB1}" dt="2024-11-25T21:53:14.082" v="323" actId="1076"/>
          <ac:picMkLst>
            <pc:docMk/>
            <pc:sldMk cId="1970710320" sldId="674"/>
            <ac:picMk id="10" creationId="{32175C7A-F91D-8FA0-5BEF-816E246CDCDD}"/>
          </ac:picMkLst>
        </pc:picChg>
      </pc:sldChg>
      <pc:sldChg chg="addSp delSp modSp new">
        <pc:chgData name="Leo Xing" userId="S::l7xing@uwaterloo.ca::092ea61f-c2f3-4c9c-8a83-cb04ba707769" providerId="AD" clId="Web-{5A11AA8C-C576-D7D0-B9A5-13A435E65FB1}" dt="2024-11-25T22:49:07.031" v="772" actId="20577"/>
        <pc:sldMkLst>
          <pc:docMk/>
          <pc:sldMk cId="1748042046" sldId="675"/>
        </pc:sldMkLst>
        <pc:spChg chg="add mod">
          <ac:chgData name="Leo Xing" userId="S::l7xing@uwaterloo.ca::092ea61f-c2f3-4c9c-8a83-cb04ba707769" providerId="AD" clId="Web-{5A11AA8C-C576-D7D0-B9A5-13A435E65FB1}" dt="2024-11-25T21:44:12.845" v="100" actId="1076"/>
          <ac:spMkLst>
            <pc:docMk/>
            <pc:sldMk cId="1748042046" sldId="675"/>
            <ac:spMk id="7" creationId="{C06BACD4-EF3B-B8B8-DE5C-D3C1AFE6BD0D}"/>
          </ac:spMkLst>
        </pc:spChg>
        <pc:spChg chg="add mod">
          <ac:chgData name="Leo Xing" userId="S::l7xing@uwaterloo.ca::092ea61f-c2f3-4c9c-8a83-cb04ba707769" providerId="AD" clId="Web-{5A11AA8C-C576-D7D0-B9A5-13A435E65FB1}" dt="2024-11-25T21:54:07.146" v="333" actId="1076"/>
          <ac:spMkLst>
            <pc:docMk/>
            <pc:sldMk cId="1748042046" sldId="675"/>
            <ac:spMk id="9" creationId="{756685E5-C715-ED1B-C2D0-78BD4D56FE93}"/>
          </ac:spMkLst>
        </pc:spChg>
        <pc:spChg chg="add mod">
          <ac:chgData name="Leo Xing" userId="S::l7xing@uwaterloo.ca::092ea61f-c2f3-4c9c-8a83-cb04ba707769" providerId="AD" clId="Web-{5A11AA8C-C576-D7D0-B9A5-13A435E65FB1}" dt="2024-11-25T21:55:34.899" v="339" actId="20577"/>
          <ac:spMkLst>
            <pc:docMk/>
            <pc:sldMk cId="1748042046" sldId="675"/>
            <ac:spMk id="10" creationId="{9D4A68CB-A32E-32DA-900C-B2A56A265C62}"/>
          </ac:spMkLst>
        </pc:spChg>
        <pc:spChg chg="add mod">
          <ac:chgData name="Leo Xing" userId="S::l7xing@uwaterloo.ca::092ea61f-c2f3-4c9c-8a83-cb04ba707769" providerId="AD" clId="Web-{5A11AA8C-C576-D7D0-B9A5-13A435E65FB1}" dt="2024-11-25T22:29:58.601" v="579" actId="1076"/>
          <ac:spMkLst>
            <pc:docMk/>
            <pc:sldMk cId="1748042046" sldId="675"/>
            <ac:spMk id="16" creationId="{FAD0AD17-02C3-3592-9CD1-FB12A770CF50}"/>
          </ac:spMkLst>
        </pc:spChg>
        <pc:spChg chg="add mod">
          <ac:chgData name="Leo Xing" userId="S::l7xing@uwaterloo.ca::092ea61f-c2f3-4c9c-8a83-cb04ba707769" providerId="AD" clId="Web-{5A11AA8C-C576-D7D0-B9A5-13A435E65FB1}" dt="2024-11-25T22:30:03.086" v="580" actId="14100"/>
          <ac:spMkLst>
            <pc:docMk/>
            <pc:sldMk cId="1748042046" sldId="675"/>
            <ac:spMk id="17" creationId="{EA38E477-58AE-CB3A-A052-30CE9EFB3132}"/>
          </ac:spMkLst>
        </pc:spChg>
        <pc:spChg chg="add mod">
          <ac:chgData name="Leo Xing" userId="S::l7xing@uwaterloo.ca::092ea61f-c2f3-4c9c-8a83-cb04ba707769" providerId="AD" clId="Web-{5A11AA8C-C576-D7D0-B9A5-13A435E65FB1}" dt="2024-11-25T22:48:07.608" v="736" actId="20577"/>
          <ac:spMkLst>
            <pc:docMk/>
            <pc:sldMk cId="1748042046" sldId="675"/>
            <ac:spMk id="18" creationId="{40ADD9EC-0029-48A6-255C-5C6A3D1DE8AB}"/>
          </ac:spMkLst>
        </pc:spChg>
        <pc:picChg chg="add mod modCrop">
          <ac:chgData name="Leo Xing" userId="S::l7xing@uwaterloo.ca::092ea61f-c2f3-4c9c-8a83-cb04ba707769" providerId="AD" clId="Web-{5A11AA8C-C576-D7D0-B9A5-13A435E65FB1}" dt="2024-11-25T21:59:40.470" v="409" actId="1076"/>
          <ac:picMkLst>
            <pc:docMk/>
            <pc:sldMk cId="1748042046" sldId="675"/>
            <ac:picMk id="15" creationId="{7AFF2018-8BEE-F8AF-EFF6-B5B5A512C965}"/>
          </ac:picMkLst>
        </pc:picChg>
      </pc:sldChg>
      <pc:sldChg chg="addSp delSp modSp new">
        <pc:chgData name="Leo Xing" userId="S::l7xing@uwaterloo.ca::092ea61f-c2f3-4c9c-8a83-cb04ba707769" providerId="AD" clId="Web-{5A11AA8C-C576-D7D0-B9A5-13A435E65FB1}" dt="2024-11-26T01:00:54.099" v="980" actId="1076"/>
        <pc:sldMkLst>
          <pc:docMk/>
          <pc:sldMk cId="3038747132" sldId="676"/>
        </pc:sldMkLst>
        <pc:spChg chg="add mod">
          <ac:chgData name="Leo Xing" userId="S::l7xing@uwaterloo.ca::092ea61f-c2f3-4c9c-8a83-cb04ba707769" providerId="AD" clId="Web-{5A11AA8C-C576-D7D0-B9A5-13A435E65FB1}" dt="2024-11-26T00:19:40.422" v="785" actId="20577"/>
          <ac:spMkLst>
            <pc:docMk/>
            <pc:sldMk cId="3038747132" sldId="676"/>
            <ac:spMk id="3" creationId="{D4F288FD-8CA2-3AE9-A404-F8D8BCF3E53B}"/>
          </ac:spMkLst>
        </pc:spChg>
        <pc:spChg chg="del">
          <ac:chgData name="Leo Xing" userId="S::l7xing@uwaterloo.ca::092ea61f-c2f3-4c9c-8a83-cb04ba707769" providerId="AD" clId="Web-{5A11AA8C-C576-D7D0-B9A5-13A435E65FB1}" dt="2024-11-26T00:17:31.437" v="775"/>
          <ac:spMkLst>
            <pc:docMk/>
            <pc:sldMk cId="3038747132" sldId="676"/>
            <ac:spMk id="4" creationId="{6370EC08-B176-0D44-B7A4-2D9536F85D85}"/>
          </ac:spMkLst>
        </pc:spChg>
        <pc:spChg chg="add mod">
          <ac:chgData name="Leo Xing" userId="S::l7xing@uwaterloo.ca::092ea61f-c2f3-4c9c-8a83-cb04ba707769" providerId="AD" clId="Web-{5A11AA8C-C576-D7D0-B9A5-13A435E65FB1}" dt="2024-11-25T21:44:29.720" v="107" actId="20577"/>
          <ac:spMkLst>
            <pc:docMk/>
            <pc:sldMk cId="3038747132" sldId="676"/>
            <ac:spMk id="7" creationId="{2EF4D24D-21D2-9B3E-4F8C-E564589CEB30}"/>
          </ac:spMkLst>
        </pc:spChg>
        <pc:spChg chg="add mod">
          <ac:chgData name="Leo Xing" userId="S::l7xing@uwaterloo.ca::092ea61f-c2f3-4c9c-8a83-cb04ba707769" providerId="AD" clId="Web-{5A11AA8C-C576-D7D0-B9A5-13A435E65FB1}" dt="2024-11-25T22:49:18.641" v="774" actId="20577"/>
          <ac:spMkLst>
            <pc:docMk/>
            <pc:sldMk cId="3038747132" sldId="676"/>
            <ac:spMk id="9" creationId="{1C5EFBE6-DEC9-4CDA-EF09-9E4CA3784778}"/>
          </ac:spMkLst>
        </pc:spChg>
        <pc:spChg chg="add mod">
          <ac:chgData name="Leo Xing" userId="S::l7xing@uwaterloo.ca::092ea61f-c2f3-4c9c-8a83-cb04ba707769" providerId="AD" clId="Web-{5A11AA8C-C576-D7D0-B9A5-13A435E65FB1}" dt="2024-11-26T00:52:06.763" v="978" actId="1076"/>
          <ac:spMkLst>
            <pc:docMk/>
            <pc:sldMk cId="3038747132" sldId="676"/>
            <ac:spMk id="12" creationId="{F8BFDC0F-DB85-FEE9-BA5C-079126AA1A01}"/>
          </ac:spMkLst>
        </pc:spChg>
        <pc:picChg chg="add mod">
          <ac:chgData name="Leo Xing" userId="S::l7xing@uwaterloo.ca::092ea61f-c2f3-4c9c-8a83-cb04ba707769" providerId="AD" clId="Web-{5A11AA8C-C576-D7D0-B9A5-13A435E65FB1}" dt="2024-11-26T00:19:53.875" v="787" actId="1076"/>
          <ac:picMkLst>
            <pc:docMk/>
            <pc:sldMk cId="3038747132" sldId="676"/>
            <ac:picMk id="8" creationId="{44F7EABF-EC15-47E0-C9B9-9C38E1C15DDE}"/>
          </ac:picMkLst>
        </pc:picChg>
        <pc:picChg chg="add mod">
          <ac:chgData name="Leo Xing" userId="S::l7xing@uwaterloo.ca::092ea61f-c2f3-4c9c-8a83-cb04ba707769" providerId="AD" clId="Web-{5A11AA8C-C576-D7D0-B9A5-13A435E65FB1}" dt="2024-11-26T01:00:54.099" v="980" actId="1076"/>
          <ac:picMkLst>
            <pc:docMk/>
            <pc:sldMk cId="3038747132" sldId="676"/>
            <ac:picMk id="10" creationId="{546DFA70-DDDC-BE28-426F-1131462D42B3}"/>
          </ac:picMkLst>
        </pc:picChg>
      </pc:sldChg>
    </pc:docChg>
  </pc:docChgLst>
  <pc:docChgLst>
    <pc:chgData name="Marvin Mario Bullinger" userId="S::mmbullin@uwaterloo.ca::3bbe2cfe-6e8b-4ac1-8799-4ce6c696cdc9" providerId="AD" clId="Web-{1C36F648-F6C8-E193-5D25-278D56CE3E60}"/>
    <pc:docChg chg="modSld">
      <pc:chgData name="Marvin Mario Bullinger" userId="S::mmbullin@uwaterloo.ca::3bbe2cfe-6e8b-4ac1-8799-4ce6c696cdc9" providerId="AD" clId="Web-{1C36F648-F6C8-E193-5D25-278D56CE3E60}" dt="2025-02-17T12:39:28.297" v="5" actId="20577"/>
      <pc:docMkLst>
        <pc:docMk/>
      </pc:docMkLst>
      <pc:sldChg chg="modSp">
        <pc:chgData name="Marvin Mario Bullinger" userId="S::mmbullin@uwaterloo.ca::3bbe2cfe-6e8b-4ac1-8799-4ce6c696cdc9" providerId="AD" clId="Web-{1C36F648-F6C8-E193-5D25-278D56CE3E60}" dt="2025-02-17T12:39:28.297" v="5" actId="20577"/>
        <pc:sldMkLst>
          <pc:docMk/>
          <pc:sldMk cId="2459506782" sldId="664"/>
        </pc:sldMkLst>
        <pc:spChg chg="mod">
          <ac:chgData name="Marvin Mario Bullinger" userId="S::mmbullin@uwaterloo.ca::3bbe2cfe-6e8b-4ac1-8799-4ce6c696cdc9" providerId="AD" clId="Web-{1C36F648-F6C8-E193-5D25-278D56CE3E60}" dt="2025-02-17T12:39:28.297" v="5" actId="20577"/>
          <ac:spMkLst>
            <pc:docMk/>
            <pc:sldMk cId="2459506782" sldId="664"/>
            <ac:spMk id="9" creationId="{D50D9609-BBD9-4FEE-3B92-0A63B6380EDC}"/>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EB0E49E-4EFF-4A15-8974-1BB15233536B}" type="doc">
      <dgm:prSet loTypeId="urn:microsoft.com/office/officeart/2005/8/layout/cycle2" loCatId="cycle" qsTypeId="urn:microsoft.com/office/officeart/2005/8/quickstyle/simple1" qsCatId="simple" csTypeId="urn:microsoft.com/office/officeart/2005/8/colors/colorful1" csCatId="colorful" phldr="1"/>
      <dgm:spPr/>
      <dgm:t>
        <a:bodyPr/>
        <a:lstStyle/>
        <a:p>
          <a:endParaRPr lang="en-CA"/>
        </a:p>
      </dgm:t>
    </dgm:pt>
    <dgm:pt modelId="{A26657EE-643B-4965-892A-24CDE794ED7B}">
      <dgm:prSet phldrT="[Text]"/>
      <dgm:spPr/>
      <dgm:t>
        <a:bodyPr/>
        <a:lstStyle/>
        <a:p>
          <a:r>
            <a:rPr lang="en-US"/>
            <a:t>Take Photo</a:t>
          </a:r>
          <a:endParaRPr lang="en-CA"/>
        </a:p>
      </dgm:t>
    </dgm:pt>
    <dgm:pt modelId="{11263068-77C9-4734-BA4F-EA40B27EC6BF}" type="parTrans" cxnId="{868A7810-83AE-49A1-B468-D79466890276}">
      <dgm:prSet/>
      <dgm:spPr/>
      <dgm:t>
        <a:bodyPr/>
        <a:lstStyle/>
        <a:p>
          <a:endParaRPr lang="en-CA"/>
        </a:p>
      </dgm:t>
    </dgm:pt>
    <dgm:pt modelId="{5DA64357-06ED-4D4D-973C-5BBBE96C94B7}" type="sibTrans" cxnId="{868A7810-83AE-49A1-B468-D79466890276}">
      <dgm:prSet/>
      <dgm:spPr/>
      <dgm:t>
        <a:bodyPr/>
        <a:lstStyle/>
        <a:p>
          <a:endParaRPr lang="en-CA"/>
        </a:p>
      </dgm:t>
    </dgm:pt>
    <dgm:pt modelId="{A8E7CC67-5BB0-46A9-A131-DA64AF49A9E8}">
      <dgm:prSet phldrT="[Text]"/>
      <dgm:spPr/>
      <dgm:t>
        <a:bodyPr/>
        <a:lstStyle/>
        <a:p>
          <a:r>
            <a:rPr lang="en-US"/>
            <a:t>Find Ball Position</a:t>
          </a:r>
          <a:endParaRPr lang="en-CA"/>
        </a:p>
      </dgm:t>
    </dgm:pt>
    <dgm:pt modelId="{B851C251-48CD-4A44-8FF4-614FAD9C5E6C}" type="parTrans" cxnId="{B5693974-F4AD-4122-BF3F-DD0C3F43A90A}">
      <dgm:prSet/>
      <dgm:spPr/>
      <dgm:t>
        <a:bodyPr/>
        <a:lstStyle/>
        <a:p>
          <a:endParaRPr lang="en-CA"/>
        </a:p>
      </dgm:t>
    </dgm:pt>
    <dgm:pt modelId="{1B804189-30F3-48F5-BB66-C1CB97E72C54}" type="sibTrans" cxnId="{B5693974-F4AD-4122-BF3F-DD0C3F43A90A}">
      <dgm:prSet/>
      <dgm:spPr/>
      <dgm:t>
        <a:bodyPr/>
        <a:lstStyle/>
        <a:p>
          <a:endParaRPr lang="en-CA"/>
        </a:p>
      </dgm:t>
    </dgm:pt>
    <dgm:pt modelId="{D562877A-F6AB-461F-A131-7FC8334D4F15}">
      <dgm:prSet phldrT="[Text]"/>
      <dgm:spPr/>
      <dgm:t>
        <a:bodyPr/>
        <a:lstStyle/>
        <a:p>
          <a:r>
            <a:rPr lang="en-US"/>
            <a:t>Feed Error to PID</a:t>
          </a:r>
          <a:endParaRPr lang="en-CA"/>
        </a:p>
      </dgm:t>
    </dgm:pt>
    <dgm:pt modelId="{99CA4367-F96D-4F82-83DE-3D8D91634743}" type="parTrans" cxnId="{9DF43C3F-F6D5-482C-8C0A-62784FA25461}">
      <dgm:prSet/>
      <dgm:spPr/>
      <dgm:t>
        <a:bodyPr/>
        <a:lstStyle/>
        <a:p>
          <a:endParaRPr lang="en-CA"/>
        </a:p>
      </dgm:t>
    </dgm:pt>
    <dgm:pt modelId="{CD36FB71-8C59-410B-B4ED-8FE7B649A3B1}" type="sibTrans" cxnId="{9DF43C3F-F6D5-482C-8C0A-62784FA25461}">
      <dgm:prSet/>
      <dgm:spPr/>
      <dgm:t>
        <a:bodyPr/>
        <a:lstStyle/>
        <a:p>
          <a:endParaRPr lang="en-CA"/>
        </a:p>
      </dgm:t>
    </dgm:pt>
    <dgm:pt modelId="{D222BEE7-D662-4E0B-97E3-C7484B003EB7}">
      <dgm:prSet phldrT="[Text]"/>
      <dgm:spPr/>
      <dgm:t>
        <a:bodyPr/>
        <a:lstStyle/>
        <a:p>
          <a:r>
            <a:rPr lang="en-US"/>
            <a:t>Lookup Motor Angles</a:t>
          </a:r>
          <a:endParaRPr lang="en-CA"/>
        </a:p>
      </dgm:t>
    </dgm:pt>
    <dgm:pt modelId="{DB57C7AA-2509-4605-85E9-73385FB091F8}" type="parTrans" cxnId="{0C53024E-489D-4343-837C-45F8C92D255E}">
      <dgm:prSet/>
      <dgm:spPr/>
      <dgm:t>
        <a:bodyPr/>
        <a:lstStyle/>
        <a:p>
          <a:endParaRPr lang="en-CA"/>
        </a:p>
      </dgm:t>
    </dgm:pt>
    <dgm:pt modelId="{1A315CD6-BB1D-4A97-AB88-4673743C623F}" type="sibTrans" cxnId="{0C53024E-489D-4343-837C-45F8C92D255E}">
      <dgm:prSet/>
      <dgm:spPr/>
      <dgm:t>
        <a:bodyPr/>
        <a:lstStyle/>
        <a:p>
          <a:endParaRPr lang="en-CA"/>
        </a:p>
      </dgm:t>
    </dgm:pt>
    <dgm:pt modelId="{27130B1C-6900-4A9B-9F93-607663361C46}">
      <dgm:prSet phldrT="[Text]"/>
      <dgm:spPr/>
      <dgm:t>
        <a:bodyPr/>
        <a:lstStyle/>
        <a:p>
          <a:r>
            <a:rPr lang="en-US">
              <a:solidFill>
                <a:schemeClr val="tx1"/>
              </a:solidFill>
            </a:rPr>
            <a:t>Send Move Command</a:t>
          </a:r>
          <a:endParaRPr lang="en-CA">
            <a:solidFill>
              <a:schemeClr val="tx1"/>
            </a:solidFill>
          </a:endParaRPr>
        </a:p>
      </dgm:t>
    </dgm:pt>
    <dgm:pt modelId="{7F67F600-7791-4CD5-9C4B-B558B2DB4948}" type="parTrans" cxnId="{AF418906-7402-4CD6-96E0-C6EEA0F46594}">
      <dgm:prSet/>
      <dgm:spPr/>
      <dgm:t>
        <a:bodyPr/>
        <a:lstStyle/>
        <a:p>
          <a:endParaRPr lang="en-CA"/>
        </a:p>
      </dgm:t>
    </dgm:pt>
    <dgm:pt modelId="{D094183E-8E37-4064-9171-FB0CEBCEBBC8}" type="sibTrans" cxnId="{AF418906-7402-4CD6-96E0-C6EEA0F46594}">
      <dgm:prSet/>
      <dgm:spPr/>
      <dgm:t>
        <a:bodyPr/>
        <a:lstStyle/>
        <a:p>
          <a:endParaRPr lang="en-CA"/>
        </a:p>
      </dgm:t>
    </dgm:pt>
    <dgm:pt modelId="{087EE1C4-40D4-4CFE-B38C-DCAE58ADCE0D}" type="pres">
      <dgm:prSet presAssocID="{3EB0E49E-4EFF-4A15-8974-1BB15233536B}" presName="cycle" presStyleCnt="0">
        <dgm:presLayoutVars>
          <dgm:dir/>
          <dgm:resizeHandles val="exact"/>
        </dgm:presLayoutVars>
      </dgm:prSet>
      <dgm:spPr/>
    </dgm:pt>
    <dgm:pt modelId="{D63C4F63-A5D2-4E42-B4CF-0A61969863C0}" type="pres">
      <dgm:prSet presAssocID="{A26657EE-643B-4965-892A-24CDE794ED7B}" presName="node" presStyleLbl="node1" presStyleIdx="0" presStyleCnt="5">
        <dgm:presLayoutVars>
          <dgm:bulletEnabled val="1"/>
        </dgm:presLayoutVars>
      </dgm:prSet>
      <dgm:spPr/>
    </dgm:pt>
    <dgm:pt modelId="{647A2E8F-BEDA-4F79-B19E-CADDBD6B23CB}" type="pres">
      <dgm:prSet presAssocID="{5DA64357-06ED-4D4D-973C-5BBBE96C94B7}" presName="sibTrans" presStyleLbl="sibTrans2D1" presStyleIdx="0" presStyleCnt="5"/>
      <dgm:spPr/>
    </dgm:pt>
    <dgm:pt modelId="{E5892EA3-2ABF-426D-9991-C40D3125818C}" type="pres">
      <dgm:prSet presAssocID="{5DA64357-06ED-4D4D-973C-5BBBE96C94B7}" presName="connectorText" presStyleLbl="sibTrans2D1" presStyleIdx="0" presStyleCnt="5"/>
      <dgm:spPr/>
    </dgm:pt>
    <dgm:pt modelId="{368F8EC3-437F-457E-82AA-7E431AB32636}" type="pres">
      <dgm:prSet presAssocID="{A8E7CC67-5BB0-46A9-A131-DA64AF49A9E8}" presName="node" presStyleLbl="node1" presStyleIdx="1" presStyleCnt="5">
        <dgm:presLayoutVars>
          <dgm:bulletEnabled val="1"/>
        </dgm:presLayoutVars>
      </dgm:prSet>
      <dgm:spPr/>
    </dgm:pt>
    <dgm:pt modelId="{17CA1F46-FF69-4331-AB4A-3FE42D9BB008}" type="pres">
      <dgm:prSet presAssocID="{1B804189-30F3-48F5-BB66-C1CB97E72C54}" presName="sibTrans" presStyleLbl="sibTrans2D1" presStyleIdx="1" presStyleCnt="5"/>
      <dgm:spPr/>
    </dgm:pt>
    <dgm:pt modelId="{DE3F1752-C18D-4345-B79A-B353519BB32D}" type="pres">
      <dgm:prSet presAssocID="{1B804189-30F3-48F5-BB66-C1CB97E72C54}" presName="connectorText" presStyleLbl="sibTrans2D1" presStyleIdx="1" presStyleCnt="5"/>
      <dgm:spPr/>
    </dgm:pt>
    <dgm:pt modelId="{E5647E58-0540-4DDD-B875-1DD64E2AC51A}" type="pres">
      <dgm:prSet presAssocID="{D562877A-F6AB-461F-A131-7FC8334D4F15}" presName="node" presStyleLbl="node1" presStyleIdx="2" presStyleCnt="5">
        <dgm:presLayoutVars>
          <dgm:bulletEnabled val="1"/>
        </dgm:presLayoutVars>
      </dgm:prSet>
      <dgm:spPr/>
    </dgm:pt>
    <dgm:pt modelId="{7BADD7F4-98CF-4D27-8FC4-AAE7554EFEC5}" type="pres">
      <dgm:prSet presAssocID="{CD36FB71-8C59-410B-B4ED-8FE7B649A3B1}" presName="sibTrans" presStyleLbl="sibTrans2D1" presStyleIdx="2" presStyleCnt="5"/>
      <dgm:spPr/>
    </dgm:pt>
    <dgm:pt modelId="{9A94366E-E356-46F3-86BA-75D9435EEFDB}" type="pres">
      <dgm:prSet presAssocID="{CD36FB71-8C59-410B-B4ED-8FE7B649A3B1}" presName="connectorText" presStyleLbl="sibTrans2D1" presStyleIdx="2" presStyleCnt="5"/>
      <dgm:spPr/>
    </dgm:pt>
    <dgm:pt modelId="{C294C630-2A24-424C-9721-42174F6A81E0}" type="pres">
      <dgm:prSet presAssocID="{D222BEE7-D662-4E0B-97E3-C7484B003EB7}" presName="node" presStyleLbl="node1" presStyleIdx="3" presStyleCnt="5">
        <dgm:presLayoutVars>
          <dgm:bulletEnabled val="1"/>
        </dgm:presLayoutVars>
      </dgm:prSet>
      <dgm:spPr/>
    </dgm:pt>
    <dgm:pt modelId="{7E78F1A3-EBC5-405D-B7CB-B294490F97DD}" type="pres">
      <dgm:prSet presAssocID="{1A315CD6-BB1D-4A97-AB88-4673743C623F}" presName="sibTrans" presStyleLbl="sibTrans2D1" presStyleIdx="3" presStyleCnt="5"/>
      <dgm:spPr/>
    </dgm:pt>
    <dgm:pt modelId="{70334468-168C-46FB-98F1-5E8DC8CF49B4}" type="pres">
      <dgm:prSet presAssocID="{1A315CD6-BB1D-4A97-AB88-4673743C623F}" presName="connectorText" presStyleLbl="sibTrans2D1" presStyleIdx="3" presStyleCnt="5"/>
      <dgm:spPr/>
    </dgm:pt>
    <dgm:pt modelId="{54D849D7-9DFE-4207-AA16-80157CC9F4EE}" type="pres">
      <dgm:prSet presAssocID="{27130B1C-6900-4A9B-9F93-607663361C46}" presName="node" presStyleLbl="node1" presStyleIdx="4" presStyleCnt="5">
        <dgm:presLayoutVars>
          <dgm:bulletEnabled val="1"/>
        </dgm:presLayoutVars>
      </dgm:prSet>
      <dgm:spPr/>
    </dgm:pt>
    <dgm:pt modelId="{B6A705A9-13A0-4D27-BA84-1ADF5EF6E67F}" type="pres">
      <dgm:prSet presAssocID="{D094183E-8E37-4064-9171-FB0CEBCEBBC8}" presName="sibTrans" presStyleLbl="sibTrans2D1" presStyleIdx="4" presStyleCnt="5"/>
      <dgm:spPr/>
    </dgm:pt>
    <dgm:pt modelId="{9B8AC396-39E1-4CB6-A3C3-FA4BA6F205D8}" type="pres">
      <dgm:prSet presAssocID="{D094183E-8E37-4064-9171-FB0CEBCEBBC8}" presName="connectorText" presStyleLbl="sibTrans2D1" presStyleIdx="4" presStyleCnt="5"/>
      <dgm:spPr/>
    </dgm:pt>
  </dgm:ptLst>
  <dgm:cxnLst>
    <dgm:cxn modelId="{AF418906-7402-4CD6-96E0-C6EEA0F46594}" srcId="{3EB0E49E-4EFF-4A15-8974-1BB15233536B}" destId="{27130B1C-6900-4A9B-9F93-607663361C46}" srcOrd="4" destOrd="0" parTransId="{7F67F600-7791-4CD5-9C4B-B558B2DB4948}" sibTransId="{D094183E-8E37-4064-9171-FB0CEBCEBBC8}"/>
    <dgm:cxn modelId="{F028500B-9BE2-49FF-8281-D51D78BBDC79}" type="presOf" srcId="{A8E7CC67-5BB0-46A9-A131-DA64AF49A9E8}" destId="{368F8EC3-437F-457E-82AA-7E431AB32636}" srcOrd="0" destOrd="0" presId="urn:microsoft.com/office/officeart/2005/8/layout/cycle2"/>
    <dgm:cxn modelId="{868A7810-83AE-49A1-B468-D79466890276}" srcId="{3EB0E49E-4EFF-4A15-8974-1BB15233536B}" destId="{A26657EE-643B-4965-892A-24CDE794ED7B}" srcOrd="0" destOrd="0" parTransId="{11263068-77C9-4734-BA4F-EA40B27EC6BF}" sibTransId="{5DA64357-06ED-4D4D-973C-5BBBE96C94B7}"/>
    <dgm:cxn modelId="{0B9DAF18-8540-4CA5-A8C1-8154B34A0DAD}" type="presOf" srcId="{D562877A-F6AB-461F-A131-7FC8334D4F15}" destId="{E5647E58-0540-4DDD-B875-1DD64E2AC51A}" srcOrd="0" destOrd="0" presId="urn:microsoft.com/office/officeart/2005/8/layout/cycle2"/>
    <dgm:cxn modelId="{06C7141D-B916-49A7-AC7A-588E4721737F}" type="presOf" srcId="{3EB0E49E-4EFF-4A15-8974-1BB15233536B}" destId="{087EE1C4-40D4-4CFE-B38C-DCAE58ADCE0D}" srcOrd="0" destOrd="0" presId="urn:microsoft.com/office/officeart/2005/8/layout/cycle2"/>
    <dgm:cxn modelId="{5EA4CE1D-BB4F-4B80-9BB2-F3E3BF11FFB2}" type="presOf" srcId="{5DA64357-06ED-4D4D-973C-5BBBE96C94B7}" destId="{647A2E8F-BEDA-4F79-B19E-CADDBD6B23CB}" srcOrd="0" destOrd="0" presId="urn:microsoft.com/office/officeart/2005/8/layout/cycle2"/>
    <dgm:cxn modelId="{3B83471E-1101-4727-84D2-A31F2477C859}" type="presOf" srcId="{D222BEE7-D662-4E0B-97E3-C7484B003EB7}" destId="{C294C630-2A24-424C-9721-42174F6A81E0}" srcOrd="0" destOrd="0" presId="urn:microsoft.com/office/officeart/2005/8/layout/cycle2"/>
    <dgm:cxn modelId="{B591F228-13FC-429F-AB91-182755D5F664}" type="presOf" srcId="{D094183E-8E37-4064-9171-FB0CEBCEBBC8}" destId="{9B8AC396-39E1-4CB6-A3C3-FA4BA6F205D8}" srcOrd="1" destOrd="0" presId="urn:microsoft.com/office/officeart/2005/8/layout/cycle2"/>
    <dgm:cxn modelId="{9DF43C3F-F6D5-482C-8C0A-62784FA25461}" srcId="{3EB0E49E-4EFF-4A15-8974-1BB15233536B}" destId="{D562877A-F6AB-461F-A131-7FC8334D4F15}" srcOrd="2" destOrd="0" parTransId="{99CA4367-F96D-4F82-83DE-3D8D91634743}" sibTransId="{CD36FB71-8C59-410B-B4ED-8FE7B649A3B1}"/>
    <dgm:cxn modelId="{73235540-6ECE-4AC8-836E-CAB19D5FEF44}" type="presOf" srcId="{CD36FB71-8C59-410B-B4ED-8FE7B649A3B1}" destId="{9A94366E-E356-46F3-86BA-75D9435EEFDB}" srcOrd="1" destOrd="0" presId="urn:microsoft.com/office/officeart/2005/8/layout/cycle2"/>
    <dgm:cxn modelId="{0C53024E-489D-4343-837C-45F8C92D255E}" srcId="{3EB0E49E-4EFF-4A15-8974-1BB15233536B}" destId="{D222BEE7-D662-4E0B-97E3-C7484B003EB7}" srcOrd="3" destOrd="0" parTransId="{DB57C7AA-2509-4605-85E9-73385FB091F8}" sibTransId="{1A315CD6-BB1D-4A97-AB88-4673743C623F}"/>
    <dgm:cxn modelId="{B5693974-F4AD-4122-BF3F-DD0C3F43A90A}" srcId="{3EB0E49E-4EFF-4A15-8974-1BB15233536B}" destId="{A8E7CC67-5BB0-46A9-A131-DA64AF49A9E8}" srcOrd="1" destOrd="0" parTransId="{B851C251-48CD-4A44-8FF4-614FAD9C5E6C}" sibTransId="{1B804189-30F3-48F5-BB66-C1CB97E72C54}"/>
    <dgm:cxn modelId="{202BD49C-0A84-407F-A02C-324EE95B4D95}" type="presOf" srcId="{27130B1C-6900-4A9B-9F93-607663361C46}" destId="{54D849D7-9DFE-4207-AA16-80157CC9F4EE}" srcOrd="0" destOrd="0" presId="urn:microsoft.com/office/officeart/2005/8/layout/cycle2"/>
    <dgm:cxn modelId="{0F14FB9C-86F6-4D20-A96B-60F72172732D}" type="presOf" srcId="{5DA64357-06ED-4D4D-973C-5BBBE96C94B7}" destId="{E5892EA3-2ABF-426D-9991-C40D3125818C}" srcOrd="1" destOrd="0" presId="urn:microsoft.com/office/officeart/2005/8/layout/cycle2"/>
    <dgm:cxn modelId="{6927579D-DB98-4973-B45F-8F26A1416EAB}" type="presOf" srcId="{A26657EE-643B-4965-892A-24CDE794ED7B}" destId="{D63C4F63-A5D2-4E42-B4CF-0A61969863C0}" srcOrd="0" destOrd="0" presId="urn:microsoft.com/office/officeart/2005/8/layout/cycle2"/>
    <dgm:cxn modelId="{0CCCFA9F-3C28-441D-B163-050DCDDD87A2}" type="presOf" srcId="{1A315CD6-BB1D-4A97-AB88-4673743C623F}" destId="{70334468-168C-46FB-98F1-5E8DC8CF49B4}" srcOrd="1" destOrd="0" presId="urn:microsoft.com/office/officeart/2005/8/layout/cycle2"/>
    <dgm:cxn modelId="{A75EB6AB-E0E0-4177-B7D4-F49E1F618CD2}" type="presOf" srcId="{1A315CD6-BB1D-4A97-AB88-4673743C623F}" destId="{7E78F1A3-EBC5-405D-B7CB-B294490F97DD}" srcOrd="0" destOrd="0" presId="urn:microsoft.com/office/officeart/2005/8/layout/cycle2"/>
    <dgm:cxn modelId="{2B706DAC-BEEC-4D5D-BA95-28981CF61222}" type="presOf" srcId="{D094183E-8E37-4064-9171-FB0CEBCEBBC8}" destId="{B6A705A9-13A0-4D27-BA84-1ADF5EF6E67F}" srcOrd="0" destOrd="0" presId="urn:microsoft.com/office/officeart/2005/8/layout/cycle2"/>
    <dgm:cxn modelId="{47DD62D1-AB19-490B-8BEC-987F9AD7668A}" type="presOf" srcId="{1B804189-30F3-48F5-BB66-C1CB97E72C54}" destId="{17CA1F46-FF69-4331-AB4A-3FE42D9BB008}" srcOrd="0" destOrd="0" presId="urn:microsoft.com/office/officeart/2005/8/layout/cycle2"/>
    <dgm:cxn modelId="{E22D6DDF-ED91-44C7-9E1D-B62153A2D0FD}" type="presOf" srcId="{CD36FB71-8C59-410B-B4ED-8FE7B649A3B1}" destId="{7BADD7F4-98CF-4D27-8FC4-AAE7554EFEC5}" srcOrd="0" destOrd="0" presId="urn:microsoft.com/office/officeart/2005/8/layout/cycle2"/>
    <dgm:cxn modelId="{CE33F2EA-810D-44C0-856F-1C19AA869D94}" type="presOf" srcId="{1B804189-30F3-48F5-BB66-C1CB97E72C54}" destId="{DE3F1752-C18D-4345-B79A-B353519BB32D}" srcOrd="1" destOrd="0" presId="urn:microsoft.com/office/officeart/2005/8/layout/cycle2"/>
    <dgm:cxn modelId="{340893D6-112D-46B8-8D14-5F206FC329E0}" type="presParOf" srcId="{087EE1C4-40D4-4CFE-B38C-DCAE58ADCE0D}" destId="{D63C4F63-A5D2-4E42-B4CF-0A61969863C0}" srcOrd="0" destOrd="0" presId="urn:microsoft.com/office/officeart/2005/8/layout/cycle2"/>
    <dgm:cxn modelId="{CEF1AA16-F205-407C-B5B6-6849ADE49F43}" type="presParOf" srcId="{087EE1C4-40D4-4CFE-B38C-DCAE58ADCE0D}" destId="{647A2E8F-BEDA-4F79-B19E-CADDBD6B23CB}" srcOrd="1" destOrd="0" presId="urn:microsoft.com/office/officeart/2005/8/layout/cycle2"/>
    <dgm:cxn modelId="{D7B19A5D-5BA5-4F26-BBD0-AD519DFC4AC2}" type="presParOf" srcId="{647A2E8F-BEDA-4F79-B19E-CADDBD6B23CB}" destId="{E5892EA3-2ABF-426D-9991-C40D3125818C}" srcOrd="0" destOrd="0" presId="urn:microsoft.com/office/officeart/2005/8/layout/cycle2"/>
    <dgm:cxn modelId="{F2F2E9C3-AE99-426D-9995-0FA4B0651BD3}" type="presParOf" srcId="{087EE1C4-40D4-4CFE-B38C-DCAE58ADCE0D}" destId="{368F8EC3-437F-457E-82AA-7E431AB32636}" srcOrd="2" destOrd="0" presId="urn:microsoft.com/office/officeart/2005/8/layout/cycle2"/>
    <dgm:cxn modelId="{2F35AEBF-1FA3-4995-905C-23FEADF61C2B}" type="presParOf" srcId="{087EE1C4-40D4-4CFE-B38C-DCAE58ADCE0D}" destId="{17CA1F46-FF69-4331-AB4A-3FE42D9BB008}" srcOrd="3" destOrd="0" presId="urn:microsoft.com/office/officeart/2005/8/layout/cycle2"/>
    <dgm:cxn modelId="{8E0C18B1-DB85-42F1-AA84-2BF1273C259A}" type="presParOf" srcId="{17CA1F46-FF69-4331-AB4A-3FE42D9BB008}" destId="{DE3F1752-C18D-4345-B79A-B353519BB32D}" srcOrd="0" destOrd="0" presId="urn:microsoft.com/office/officeart/2005/8/layout/cycle2"/>
    <dgm:cxn modelId="{D08E2E86-D281-4519-BC50-456FA9F84D45}" type="presParOf" srcId="{087EE1C4-40D4-4CFE-B38C-DCAE58ADCE0D}" destId="{E5647E58-0540-4DDD-B875-1DD64E2AC51A}" srcOrd="4" destOrd="0" presId="urn:microsoft.com/office/officeart/2005/8/layout/cycle2"/>
    <dgm:cxn modelId="{CBF010A4-F370-4029-814A-EC401E63576F}" type="presParOf" srcId="{087EE1C4-40D4-4CFE-B38C-DCAE58ADCE0D}" destId="{7BADD7F4-98CF-4D27-8FC4-AAE7554EFEC5}" srcOrd="5" destOrd="0" presId="urn:microsoft.com/office/officeart/2005/8/layout/cycle2"/>
    <dgm:cxn modelId="{496F0051-B81A-4C02-A647-BE7D1AE9F5E3}" type="presParOf" srcId="{7BADD7F4-98CF-4D27-8FC4-AAE7554EFEC5}" destId="{9A94366E-E356-46F3-86BA-75D9435EEFDB}" srcOrd="0" destOrd="0" presId="urn:microsoft.com/office/officeart/2005/8/layout/cycle2"/>
    <dgm:cxn modelId="{E4092E5C-947B-4164-81E4-C15964D264FA}" type="presParOf" srcId="{087EE1C4-40D4-4CFE-B38C-DCAE58ADCE0D}" destId="{C294C630-2A24-424C-9721-42174F6A81E0}" srcOrd="6" destOrd="0" presId="urn:microsoft.com/office/officeart/2005/8/layout/cycle2"/>
    <dgm:cxn modelId="{F01B94E8-D969-447B-9D94-E28FCE7BFDC0}" type="presParOf" srcId="{087EE1C4-40D4-4CFE-B38C-DCAE58ADCE0D}" destId="{7E78F1A3-EBC5-405D-B7CB-B294490F97DD}" srcOrd="7" destOrd="0" presId="urn:microsoft.com/office/officeart/2005/8/layout/cycle2"/>
    <dgm:cxn modelId="{74343945-D5EF-4AD7-B1C1-A7CBA7FBC6DE}" type="presParOf" srcId="{7E78F1A3-EBC5-405D-B7CB-B294490F97DD}" destId="{70334468-168C-46FB-98F1-5E8DC8CF49B4}" srcOrd="0" destOrd="0" presId="urn:microsoft.com/office/officeart/2005/8/layout/cycle2"/>
    <dgm:cxn modelId="{18B28871-4268-4323-99A2-DE2D45DEE9F0}" type="presParOf" srcId="{087EE1C4-40D4-4CFE-B38C-DCAE58ADCE0D}" destId="{54D849D7-9DFE-4207-AA16-80157CC9F4EE}" srcOrd="8" destOrd="0" presId="urn:microsoft.com/office/officeart/2005/8/layout/cycle2"/>
    <dgm:cxn modelId="{C578AE90-6728-48C2-BA40-701583E9978A}" type="presParOf" srcId="{087EE1C4-40D4-4CFE-B38C-DCAE58ADCE0D}" destId="{B6A705A9-13A0-4D27-BA84-1ADF5EF6E67F}" srcOrd="9" destOrd="0" presId="urn:microsoft.com/office/officeart/2005/8/layout/cycle2"/>
    <dgm:cxn modelId="{7AA73371-8B95-4B90-AD1F-C8DED94EC5C6}" type="presParOf" srcId="{B6A705A9-13A0-4D27-BA84-1ADF5EF6E67F}" destId="{9B8AC396-39E1-4CB6-A3C3-FA4BA6F205D8}"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3C4F63-A5D2-4E42-B4CF-0A61969863C0}">
      <dsp:nvSpPr>
        <dsp:cNvPr id="0" name=""/>
        <dsp:cNvSpPr/>
      </dsp:nvSpPr>
      <dsp:spPr>
        <a:xfrm>
          <a:off x="3246437" y="534"/>
          <a:ext cx="1635124" cy="1635124"/>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Take Photo</a:t>
          </a:r>
          <a:endParaRPr lang="en-CA" sz="2000" kern="1200"/>
        </a:p>
      </dsp:txBody>
      <dsp:txXfrm>
        <a:off x="3485895" y="239992"/>
        <a:ext cx="1156208" cy="1156208"/>
      </dsp:txXfrm>
    </dsp:sp>
    <dsp:sp modelId="{647A2E8F-BEDA-4F79-B19E-CADDBD6B23CB}">
      <dsp:nvSpPr>
        <dsp:cNvPr id="0" name=""/>
        <dsp:cNvSpPr/>
      </dsp:nvSpPr>
      <dsp:spPr>
        <a:xfrm rot="2160000">
          <a:off x="4830234" y="1257302"/>
          <a:ext cx="436123" cy="551854"/>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CA" sz="1600" kern="1200"/>
        </a:p>
      </dsp:txBody>
      <dsp:txXfrm>
        <a:off x="4842728" y="1329221"/>
        <a:ext cx="305286" cy="331112"/>
      </dsp:txXfrm>
    </dsp:sp>
    <dsp:sp modelId="{368F8EC3-437F-457E-82AA-7E431AB32636}">
      <dsp:nvSpPr>
        <dsp:cNvPr id="0" name=""/>
        <dsp:cNvSpPr/>
      </dsp:nvSpPr>
      <dsp:spPr>
        <a:xfrm>
          <a:off x="5235001" y="1445310"/>
          <a:ext cx="1635124" cy="1635124"/>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Find Ball Position</a:t>
          </a:r>
          <a:endParaRPr lang="en-CA" sz="2000" kern="1200"/>
        </a:p>
      </dsp:txBody>
      <dsp:txXfrm>
        <a:off x="5474459" y="1684768"/>
        <a:ext cx="1156208" cy="1156208"/>
      </dsp:txXfrm>
    </dsp:sp>
    <dsp:sp modelId="{17CA1F46-FF69-4331-AB4A-3FE42D9BB008}">
      <dsp:nvSpPr>
        <dsp:cNvPr id="0" name=""/>
        <dsp:cNvSpPr/>
      </dsp:nvSpPr>
      <dsp:spPr>
        <a:xfrm rot="6480000">
          <a:off x="5458534" y="3144055"/>
          <a:ext cx="436123" cy="551854"/>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CA" sz="1600" kern="1200"/>
        </a:p>
      </dsp:txBody>
      <dsp:txXfrm rot="10800000">
        <a:off x="5544168" y="3192209"/>
        <a:ext cx="305286" cy="331112"/>
      </dsp:txXfrm>
    </dsp:sp>
    <dsp:sp modelId="{E5647E58-0540-4DDD-B875-1DD64E2AC51A}">
      <dsp:nvSpPr>
        <dsp:cNvPr id="0" name=""/>
        <dsp:cNvSpPr/>
      </dsp:nvSpPr>
      <dsp:spPr>
        <a:xfrm>
          <a:off x="4475437" y="3783007"/>
          <a:ext cx="1635124" cy="1635124"/>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Feed Error to PID</a:t>
          </a:r>
          <a:endParaRPr lang="en-CA" sz="2000" kern="1200"/>
        </a:p>
      </dsp:txBody>
      <dsp:txXfrm>
        <a:off x="4714895" y="4022465"/>
        <a:ext cx="1156208" cy="1156208"/>
      </dsp:txXfrm>
    </dsp:sp>
    <dsp:sp modelId="{7BADD7F4-98CF-4D27-8FC4-AAE7554EFEC5}">
      <dsp:nvSpPr>
        <dsp:cNvPr id="0" name=""/>
        <dsp:cNvSpPr/>
      </dsp:nvSpPr>
      <dsp:spPr>
        <a:xfrm rot="10800000">
          <a:off x="3858281" y="4324642"/>
          <a:ext cx="436123" cy="551854"/>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CA" sz="1600" kern="1200"/>
        </a:p>
      </dsp:txBody>
      <dsp:txXfrm rot="10800000">
        <a:off x="3989118" y="4435013"/>
        <a:ext cx="305286" cy="331112"/>
      </dsp:txXfrm>
    </dsp:sp>
    <dsp:sp modelId="{C294C630-2A24-424C-9721-42174F6A81E0}">
      <dsp:nvSpPr>
        <dsp:cNvPr id="0" name=""/>
        <dsp:cNvSpPr/>
      </dsp:nvSpPr>
      <dsp:spPr>
        <a:xfrm>
          <a:off x="2017437" y="3783007"/>
          <a:ext cx="1635124" cy="1635124"/>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Lookup Motor Angles</a:t>
          </a:r>
          <a:endParaRPr lang="en-CA" sz="2000" kern="1200"/>
        </a:p>
      </dsp:txBody>
      <dsp:txXfrm>
        <a:off x="2256895" y="4022465"/>
        <a:ext cx="1156208" cy="1156208"/>
      </dsp:txXfrm>
    </dsp:sp>
    <dsp:sp modelId="{7E78F1A3-EBC5-405D-B7CB-B294490F97DD}">
      <dsp:nvSpPr>
        <dsp:cNvPr id="0" name=""/>
        <dsp:cNvSpPr/>
      </dsp:nvSpPr>
      <dsp:spPr>
        <a:xfrm rot="15120000">
          <a:off x="2240970" y="3167533"/>
          <a:ext cx="436123" cy="551854"/>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CA" sz="1600" kern="1200"/>
        </a:p>
      </dsp:txBody>
      <dsp:txXfrm rot="10800000">
        <a:off x="2326604" y="3340121"/>
        <a:ext cx="305286" cy="331112"/>
      </dsp:txXfrm>
    </dsp:sp>
    <dsp:sp modelId="{54D849D7-9DFE-4207-AA16-80157CC9F4EE}">
      <dsp:nvSpPr>
        <dsp:cNvPr id="0" name=""/>
        <dsp:cNvSpPr/>
      </dsp:nvSpPr>
      <dsp:spPr>
        <a:xfrm>
          <a:off x="1257873" y="1445310"/>
          <a:ext cx="1635124" cy="1635124"/>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1"/>
              </a:solidFill>
            </a:rPr>
            <a:t>Send Move Command</a:t>
          </a:r>
          <a:endParaRPr lang="en-CA" sz="2000" kern="1200">
            <a:solidFill>
              <a:schemeClr val="tx1"/>
            </a:solidFill>
          </a:endParaRPr>
        </a:p>
      </dsp:txBody>
      <dsp:txXfrm>
        <a:off x="1497331" y="1684768"/>
        <a:ext cx="1156208" cy="1156208"/>
      </dsp:txXfrm>
    </dsp:sp>
    <dsp:sp modelId="{B6A705A9-13A0-4D27-BA84-1ADF5EF6E67F}">
      <dsp:nvSpPr>
        <dsp:cNvPr id="0" name=""/>
        <dsp:cNvSpPr/>
      </dsp:nvSpPr>
      <dsp:spPr>
        <a:xfrm rot="19440000">
          <a:off x="2841670" y="1271812"/>
          <a:ext cx="436123" cy="551854"/>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CA" sz="1600" kern="1200"/>
        </a:p>
      </dsp:txBody>
      <dsp:txXfrm>
        <a:off x="2854164" y="1420635"/>
        <a:ext cx="305286" cy="331112"/>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8D5286F-F46C-4E2C-97AF-6B45DE4CB2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066E692-6480-48CC-8BCD-A7DF5C1F69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6FEB490-C5F1-4FE5-B523-7E2A854CD119}" type="datetimeFigureOut">
              <a:rPr lang="de-DE" smtClean="0"/>
              <a:t>17.02.2025</a:t>
            </a:fld>
            <a:endParaRPr lang="de-DE"/>
          </a:p>
        </p:txBody>
      </p:sp>
      <p:sp>
        <p:nvSpPr>
          <p:cNvPr id="4" name="Fußzeilenplatzhalter 3">
            <a:extLst>
              <a:ext uri="{FF2B5EF4-FFF2-40B4-BE49-F238E27FC236}">
                <a16:creationId xmlns:a16="http://schemas.microsoft.com/office/drawing/2014/main" id="{8458393A-9752-4A74-9877-37793712D68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EB2DF026-F42B-4782-9457-5E48B4742A2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0F6C2D2-50ED-4FF1-94DB-86311ACB8CAD}" type="slidenum">
              <a:rPr lang="de-DE" smtClean="0"/>
              <a:t>‹Nr.›</a:t>
            </a:fld>
            <a:endParaRPr lang="de-DE"/>
          </a:p>
        </p:txBody>
      </p:sp>
    </p:spTree>
    <p:extLst>
      <p:ext uri="{BB962C8B-B14F-4D97-AF65-F5344CB8AC3E}">
        <p14:creationId xmlns:p14="http://schemas.microsoft.com/office/powerpoint/2010/main" val="25127807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ECEF2B-B444-4E6C-B710-FDFA372E266A}" type="datetimeFigureOut">
              <a:rPr lang="de-DE" smtClean="0"/>
              <a:t>17.02.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B7BD1D-57F2-4AA2-9428-BF308BAFC728}" type="slidenum">
              <a:rPr lang="de-DE" smtClean="0"/>
              <a:t>‹Nr.›</a:t>
            </a:fld>
            <a:endParaRPr lang="de-DE"/>
          </a:p>
        </p:txBody>
      </p:sp>
    </p:spTree>
    <p:extLst>
      <p:ext uri="{BB962C8B-B14F-4D97-AF65-F5344CB8AC3E}">
        <p14:creationId xmlns:p14="http://schemas.microsoft.com/office/powerpoint/2010/main" val="1741586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BB7BD1D-57F2-4AA2-9428-BF308BAFC728}" type="slidenum">
              <a:rPr lang="de-DE" smtClean="0"/>
              <a:t>2</a:t>
            </a:fld>
            <a:endParaRPr lang="de-DE"/>
          </a:p>
        </p:txBody>
      </p:sp>
    </p:spTree>
    <p:extLst>
      <p:ext uri="{BB962C8B-B14F-4D97-AF65-F5344CB8AC3E}">
        <p14:creationId xmlns:p14="http://schemas.microsoft.com/office/powerpoint/2010/main" val="1969825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fld id="{3BB7BD1D-57F2-4AA2-9428-BF308BAFC728}" type="slidenum">
              <a:rPr lang="de-DE" smtClean="0"/>
              <a:t>17</a:t>
            </a:fld>
            <a:endParaRPr lang="de-DE"/>
          </a:p>
        </p:txBody>
      </p:sp>
    </p:spTree>
    <p:extLst>
      <p:ext uri="{BB962C8B-B14F-4D97-AF65-F5344CB8AC3E}">
        <p14:creationId xmlns:p14="http://schemas.microsoft.com/office/powerpoint/2010/main" val="14547589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controller design changed a couple times during this project. We </a:t>
            </a:r>
            <a:r>
              <a:rPr lang="en-CA" dirty="0"/>
              <a:t>first</a:t>
            </a:r>
            <a:r>
              <a:rPr lang="en-US" dirty="0"/>
              <a:t> </a:t>
            </a:r>
            <a:r>
              <a:rPr lang="en-CA" dirty="0"/>
              <a:t>tried</a:t>
            </a:r>
            <a:r>
              <a:rPr lang="en-US" dirty="0"/>
              <a:t> us</a:t>
            </a:r>
            <a:r>
              <a:rPr lang="en-CA" dirty="0" err="1"/>
              <a:t>ing</a:t>
            </a:r>
            <a:r>
              <a:rPr lang="en-CA" dirty="0"/>
              <a:t> </a:t>
            </a:r>
            <a:r>
              <a:rPr lang="en-US" dirty="0"/>
              <a:t>the kinematic equations directly to compute the tilt of the platform, but we were unable to account for the momentum of the ball. This led to our next design of a PID controller, which took the ball’s position error to give the tilt of the platform. As we later found out, this type of controller is very sensitive to its control parameters and needed multiple tunes</a:t>
            </a:r>
            <a:r>
              <a:rPr lang="en-CA" dirty="0"/>
              <a:t>.</a:t>
            </a:r>
          </a:p>
        </p:txBody>
      </p:sp>
      <p:sp>
        <p:nvSpPr>
          <p:cNvPr id="4" name="Slide Number Placeholder 3"/>
          <p:cNvSpPr>
            <a:spLocks noGrp="1"/>
          </p:cNvSpPr>
          <p:nvPr>
            <p:ph type="sldNum" sz="quarter" idx="5"/>
          </p:nvPr>
        </p:nvSpPr>
        <p:spPr/>
        <p:txBody>
          <a:bodyPr/>
          <a:lstStyle/>
          <a:p>
            <a:fld id="{71361981-0ABE-4EAC-AE7F-2D4DF0B89749}" type="slidenum">
              <a:rPr lang="en-CA" smtClean="0"/>
              <a:t>18</a:t>
            </a:fld>
            <a:endParaRPr lang="en-CA"/>
          </a:p>
        </p:txBody>
      </p:sp>
    </p:spTree>
    <p:extLst>
      <p:ext uri="{BB962C8B-B14F-4D97-AF65-F5344CB8AC3E}">
        <p14:creationId xmlns:p14="http://schemas.microsoft.com/office/powerpoint/2010/main" val="1348221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ing over the control cycle briefly, our system first takes a photo of our platform with the ball on it. We process this photo using Open CV to get the ball position, which is then fed into the PID. Using the angles spit out by the PID, we look up the motor angles, which are finally sent to the Arduino for execution.</a:t>
            </a:r>
            <a:endParaRPr lang="en-CA"/>
          </a:p>
        </p:txBody>
      </p:sp>
      <p:sp>
        <p:nvSpPr>
          <p:cNvPr id="4" name="Slide Number Placeholder 3"/>
          <p:cNvSpPr>
            <a:spLocks noGrp="1"/>
          </p:cNvSpPr>
          <p:nvPr>
            <p:ph type="sldNum" sz="quarter" idx="5"/>
          </p:nvPr>
        </p:nvSpPr>
        <p:spPr/>
        <p:txBody>
          <a:bodyPr/>
          <a:lstStyle/>
          <a:p>
            <a:fld id="{71361981-0ABE-4EAC-AE7F-2D4DF0B89749}" type="slidenum">
              <a:rPr lang="en-CA" smtClean="0"/>
              <a:t>19</a:t>
            </a:fld>
            <a:endParaRPr lang="en-CA"/>
          </a:p>
        </p:txBody>
      </p:sp>
    </p:spTree>
    <p:extLst>
      <p:ext uri="{BB962C8B-B14F-4D97-AF65-F5344CB8AC3E}">
        <p14:creationId xmlns:p14="http://schemas.microsoft.com/office/powerpoint/2010/main" val="42024423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 Extern 1">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7292093E-44AE-4A88-A4CB-D23B1DD32409}"/>
              </a:ext>
            </a:extLst>
          </p:cNvPr>
          <p:cNvSpPr>
            <a:spLocks noGrp="1"/>
          </p:cNvSpPr>
          <p:nvPr>
            <p:ph type="body" sz="quarter" idx="10"/>
          </p:nvPr>
        </p:nvSpPr>
        <p:spPr>
          <a:xfrm>
            <a:off x="518319" y="642855"/>
            <a:ext cx="7228674"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2" name="Bildplatzhalter 11">
            <a:extLst>
              <a:ext uri="{FF2B5EF4-FFF2-40B4-BE49-F238E27FC236}">
                <a16:creationId xmlns:a16="http://schemas.microsoft.com/office/drawing/2014/main" id="{D2196AA1-313D-4990-8CC0-383A233A2630}"/>
              </a:ext>
            </a:extLst>
          </p:cNvPr>
          <p:cNvSpPr>
            <a:spLocks noGrp="1"/>
          </p:cNvSpPr>
          <p:nvPr>
            <p:ph type="pic" sz="quarter" idx="11" hasCustomPrompt="1"/>
          </p:nvPr>
        </p:nvSpPr>
        <p:spPr>
          <a:xfrm>
            <a:off x="0" y="2351880"/>
            <a:ext cx="12192000" cy="4506119"/>
          </a:xfrm>
          <a:solidFill>
            <a:schemeClr val="bg2">
              <a:lumMod val="95000"/>
            </a:schemeClr>
          </a:solidFill>
        </p:spPr>
        <p:txBody>
          <a:bodyPr/>
          <a:lstStyle>
            <a:lvl1pPr>
              <a:defRPr/>
            </a:lvl1pPr>
          </a:lstStyle>
          <a:p>
            <a:r>
              <a:rPr lang="de-DE"/>
              <a:t> </a:t>
            </a:r>
          </a:p>
        </p:txBody>
      </p:sp>
      <p:cxnSp>
        <p:nvCxnSpPr>
          <p:cNvPr id="13" name="Gerade Verbindung 22">
            <a:extLst>
              <a:ext uri="{FF2B5EF4-FFF2-40B4-BE49-F238E27FC236}">
                <a16:creationId xmlns:a16="http://schemas.microsoft.com/office/drawing/2014/main" id="{1E2BE177-B8AE-4CA3-8B0C-241AD815C55F}"/>
              </a:ext>
            </a:extLst>
          </p:cNvPr>
          <p:cNvCxnSpPr>
            <a:cxnSpLocks/>
          </p:cNvCxnSpPr>
          <p:nvPr/>
        </p:nvCxnSpPr>
        <p:spPr>
          <a:xfrm>
            <a:off x="8512714" y="0"/>
            <a:ext cx="0" cy="130810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14" name="Gerade Verbindung 35">
            <a:extLst>
              <a:ext uri="{FF2B5EF4-FFF2-40B4-BE49-F238E27FC236}">
                <a16:creationId xmlns:a16="http://schemas.microsoft.com/office/drawing/2014/main" id="{9A76B5C1-E9F7-44AB-B776-CC664C7A0794}"/>
              </a:ext>
            </a:extLst>
          </p:cNvPr>
          <p:cNvCxnSpPr>
            <a:cxnSpLocks/>
          </p:cNvCxnSpPr>
          <p:nvPr/>
        </p:nvCxnSpPr>
        <p:spPr>
          <a:xfrm>
            <a:off x="8512714" y="1632585"/>
            <a:ext cx="0" cy="432088"/>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6" name="Textplatzhalter 15">
            <a:extLst>
              <a:ext uri="{FF2B5EF4-FFF2-40B4-BE49-F238E27FC236}">
                <a16:creationId xmlns:a16="http://schemas.microsoft.com/office/drawing/2014/main" id="{57DAACFA-7C59-48D1-9F81-779220D25C63}"/>
              </a:ext>
            </a:extLst>
          </p:cNvPr>
          <p:cNvSpPr>
            <a:spLocks noGrp="1"/>
          </p:cNvSpPr>
          <p:nvPr>
            <p:ph type="body" sz="quarter" idx="12" hasCustomPrompt="1"/>
          </p:nvPr>
        </p:nvSpPr>
        <p:spPr>
          <a:xfrm>
            <a:off x="8711763" y="642855"/>
            <a:ext cx="1524435" cy="553998"/>
          </a:xfrm>
        </p:spPr>
        <p:txBody>
          <a:bodyPr>
            <a:noAutofit/>
          </a:bodyPr>
          <a:lstStyle>
            <a:lvl1pPr>
              <a:lnSpc>
                <a:spcPct val="100000"/>
              </a:lnSpc>
              <a:spcAft>
                <a:spcPts val="0"/>
              </a:spcAft>
              <a:defRPr sz="1200">
                <a:solidFill>
                  <a:srgbClr val="8A8A8A"/>
                </a:solidFill>
                <a:latin typeface="ZEISS Frutiger Next W1G"/>
                <a:cs typeface="Arial" panose="020B0604020202020204" pitchFamily="34" charset="0"/>
              </a:defRPr>
            </a:lvl1pPr>
          </a:lstStyle>
          <a:p>
            <a:pPr lvl="0"/>
            <a:r>
              <a:rPr lang="de-DE"/>
              <a:t>Ersteller</a:t>
            </a:r>
          </a:p>
        </p:txBody>
      </p:sp>
      <p:sp>
        <p:nvSpPr>
          <p:cNvPr id="2" name="Datumsplatzhalter 1">
            <a:extLst>
              <a:ext uri="{FF2B5EF4-FFF2-40B4-BE49-F238E27FC236}">
                <a16:creationId xmlns:a16="http://schemas.microsoft.com/office/drawing/2014/main" id="{89328C91-FAF8-4C71-890F-C1FB2958BAAD}"/>
              </a:ext>
            </a:extLst>
          </p:cNvPr>
          <p:cNvSpPr>
            <a:spLocks noGrp="1"/>
          </p:cNvSpPr>
          <p:nvPr>
            <p:ph type="dt" sz="half" idx="16"/>
          </p:nvPr>
        </p:nvSpPr>
        <p:spPr>
          <a:xfrm>
            <a:off x="8711762" y="1756296"/>
            <a:ext cx="1139607" cy="184666"/>
          </a:xfrm>
          <a:prstGeom prst="rect">
            <a:avLst/>
          </a:prstGeom>
        </p:spPr>
        <p:txBody>
          <a:bodyPr vert="horz" lIns="0" tIns="0" rIns="0" bIns="0" rtlCol="0" anchor="t" anchorCtr="0">
            <a:spAutoFit/>
          </a:bodyPr>
          <a:lstStyle>
            <a:lvl1pPr>
              <a:defRPr lang="de-DE" sz="1200" smtClean="0">
                <a:solidFill>
                  <a:srgbClr val="8A8A8A"/>
                </a:solidFill>
                <a:latin typeface="ZEISS Frutiger Next W1G"/>
                <a:cs typeface="Arial" panose="020B0604020202020204" pitchFamily="34" charset="0"/>
              </a:defRPr>
            </a:lvl1pPr>
          </a:lstStyle>
          <a:p>
            <a:pPr>
              <a:buFont typeface="Arial" panose="020B0604020202020204" pitchFamily="34" charset="0"/>
              <a:buNone/>
            </a:pPr>
            <a:fld id="{59F5FB76-4A09-479F-9E8A-039C8811C15E}" type="datetime4">
              <a:rPr lang="de-DE" smtClean="0"/>
              <a:t>17. Februar 2025</a:t>
            </a:fld>
            <a:endParaRPr lang="de-DE"/>
          </a:p>
        </p:txBody>
      </p:sp>
      <p:sp>
        <p:nvSpPr>
          <p:cNvPr id="3" name="Titel 2">
            <a:extLst>
              <a:ext uri="{FF2B5EF4-FFF2-40B4-BE49-F238E27FC236}">
                <a16:creationId xmlns:a16="http://schemas.microsoft.com/office/drawing/2014/main" id="{BF241B12-AFED-4016-A470-4C5CF08E7865}"/>
              </a:ext>
            </a:extLst>
          </p:cNvPr>
          <p:cNvSpPr>
            <a:spLocks noGrp="1"/>
          </p:cNvSpPr>
          <p:nvPr>
            <p:ph type="title"/>
          </p:nvPr>
        </p:nvSpPr>
        <p:spPr>
          <a:xfrm>
            <a:off x="518319" y="299633"/>
            <a:ext cx="7994388" cy="369332"/>
          </a:xfrm>
        </p:spPr>
        <p:txBody>
          <a:bodyPr/>
          <a:lstStyle>
            <a:lvl1pPr>
              <a:defRPr/>
            </a:lvl1pPr>
          </a:lstStyle>
          <a:p>
            <a:r>
              <a:rPr lang="de-DE"/>
              <a:t>Mastertitelformat bearbeiten</a:t>
            </a:r>
          </a:p>
        </p:txBody>
      </p:sp>
    </p:spTree>
    <p:extLst>
      <p:ext uri="{BB962C8B-B14F-4D97-AF65-F5344CB8AC3E}">
        <p14:creationId xmlns:p14="http://schemas.microsoft.com/office/powerpoint/2010/main" val="18525333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folie | 3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1" name="Textplatzhalter 8">
            <a:extLst>
              <a:ext uri="{FF2B5EF4-FFF2-40B4-BE49-F238E27FC236}">
                <a16:creationId xmlns:a16="http://schemas.microsoft.com/office/drawing/2014/main" id="{3672128A-9CD1-4BA0-8866-2DE4C8621BF2}"/>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4" name="Textplatzhalter 3">
            <a:extLst>
              <a:ext uri="{FF2B5EF4-FFF2-40B4-BE49-F238E27FC236}">
                <a16:creationId xmlns:a16="http://schemas.microsoft.com/office/drawing/2014/main" id="{63E6CB3C-AA15-4066-87A4-1BC111AFD6D2}"/>
              </a:ext>
            </a:extLst>
          </p:cNvPr>
          <p:cNvSpPr>
            <a:spLocks noGrp="1"/>
          </p:cNvSpPr>
          <p:nvPr>
            <p:ph type="body" sz="quarter" idx="65"/>
          </p:nvPr>
        </p:nvSpPr>
        <p:spPr>
          <a:xfrm>
            <a:off x="518320" y="1631837"/>
            <a:ext cx="3521074"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3">
            <a:extLst>
              <a:ext uri="{FF2B5EF4-FFF2-40B4-BE49-F238E27FC236}">
                <a16:creationId xmlns:a16="http://schemas.microsoft.com/office/drawing/2014/main" id="{91B4FA4A-707E-4B21-8550-2A1CA445619E}"/>
              </a:ext>
            </a:extLst>
          </p:cNvPr>
          <p:cNvSpPr>
            <a:spLocks noGrp="1"/>
          </p:cNvSpPr>
          <p:nvPr>
            <p:ph type="body" sz="quarter" idx="66"/>
          </p:nvPr>
        </p:nvSpPr>
        <p:spPr>
          <a:xfrm>
            <a:off x="4336655" y="1631837"/>
            <a:ext cx="3521074"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 name="Textplatzhalter 3">
            <a:extLst>
              <a:ext uri="{FF2B5EF4-FFF2-40B4-BE49-F238E27FC236}">
                <a16:creationId xmlns:a16="http://schemas.microsoft.com/office/drawing/2014/main" id="{66568BC8-CF70-4E83-B3D8-E4E070B4F8ED}"/>
              </a:ext>
            </a:extLst>
          </p:cNvPr>
          <p:cNvSpPr>
            <a:spLocks noGrp="1"/>
          </p:cNvSpPr>
          <p:nvPr>
            <p:ph type="body" sz="quarter" idx="67"/>
          </p:nvPr>
        </p:nvSpPr>
        <p:spPr>
          <a:xfrm>
            <a:off x="8154989" y="1631837"/>
            <a:ext cx="3521074"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2" name="Gerade Verbindung 71">
            <a:extLst>
              <a:ext uri="{FF2B5EF4-FFF2-40B4-BE49-F238E27FC236}">
                <a16:creationId xmlns:a16="http://schemas.microsoft.com/office/drawing/2014/main" id="{A31530B3-F348-4886-8DA8-C7DF27643531}"/>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Datumsplatzhalter 5">
            <a:extLst>
              <a:ext uri="{FF2B5EF4-FFF2-40B4-BE49-F238E27FC236}">
                <a16:creationId xmlns:a16="http://schemas.microsoft.com/office/drawing/2014/main" id="{6C2411BF-A4DA-4EA6-AA41-57EDAE53F86F}"/>
              </a:ext>
            </a:extLst>
          </p:cNvPr>
          <p:cNvSpPr>
            <a:spLocks noGrp="1"/>
          </p:cNvSpPr>
          <p:nvPr>
            <p:ph type="dt" sz="half" idx="68"/>
          </p:nvPr>
        </p:nvSpPr>
        <p:spPr/>
        <p:txBody>
          <a:bodyPr/>
          <a:lstStyle/>
          <a:p>
            <a:fld id="{0883B8F2-0819-468C-90E5-97245453F505}" type="datetime4">
              <a:rPr lang="de-DE" smtClean="0"/>
              <a:t>17. Februar 2025</a:t>
            </a:fld>
            <a:endParaRPr lang="de-DE"/>
          </a:p>
        </p:txBody>
      </p:sp>
      <p:sp>
        <p:nvSpPr>
          <p:cNvPr id="8" name="Foliennummernplatzhalter 7">
            <a:extLst>
              <a:ext uri="{FF2B5EF4-FFF2-40B4-BE49-F238E27FC236}">
                <a16:creationId xmlns:a16="http://schemas.microsoft.com/office/drawing/2014/main" id="{90D1249C-E538-4A32-BE76-858D924D54CE}"/>
              </a:ext>
            </a:extLst>
          </p:cNvPr>
          <p:cNvSpPr>
            <a:spLocks noGrp="1"/>
          </p:cNvSpPr>
          <p:nvPr>
            <p:ph type="sldNum" sz="quarter" idx="70"/>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31066297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folie | 4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6090A1F3-A7AB-42F7-9FBF-8736DC5882DB}"/>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4" name="Textplatzhalter 3">
            <a:extLst>
              <a:ext uri="{FF2B5EF4-FFF2-40B4-BE49-F238E27FC236}">
                <a16:creationId xmlns:a16="http://schemas.microsoft.com/office/drawing/2014/main" id="{78DED978-10E9-4C45-9AF8-D5BAE20E9625}"/>
              </a:ext>
            </a:extLst>
          </p:cNvPr>
          <p:cNvSpPr>
            <a:spLocks noGrp="1"/>
          </p:cNvSpPr>
          <p:nvPr>
            <p:ph type="body" sz="quarter" idx="66"/>
          </p:nvPr>
        </p:nvSpPr>
        <p:spPr>
          <a:xfrm>
            <a:off x="518320" y="1631837"/>
            <a:ext cx="2570061"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3CA966A3-1F04-42F3-AA58-C900F327C550}"/>
              </a:ext>
            </a:extLst>
          </p:cNvPr>
          <p:cNvSpPr>
            <a:spLocks noGrp="1"/>
          </p:cNvSpPr>
          <p:nvPr>
            <p:ph type="body" sz="quarter" idx="67"/>
          </p:nvPr>
        </p:nvSpPr>
        <p:spPr>
          <a:xfrm>
            <a:off x="3380881" y="1631837"/>
            <a:ext cx="2570061"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Textplatzhalter 3">
            <a:extLst>
              <a:ext uri="{FF2B5EF4-FFF2-40B4-BE49-F238E27FC236}">
                <a16:creationId xmlns:a16="http://schemas.microsoft.com/office/drawing/2014/main" id="{E9EB05F1-EE7A-473E-83D8-EA42061575EA}"/>
              </a:ext>
            </a:extLst>
          </p:cNvPr>
          <p:cNvSpPr>
            <a:spLocks noGrp="1"/>
          </p:cNvSpPr>
          <p:nvPr>
            <p:ph type="body" sz="quarter" idx="68"/>
          </p:nvPr>
        </p:nvSpPr>
        <p:spPr>
          <a:xfrm>
            <a:off x="6243442" y="1631837"/>
            <a:ext cx="2570061"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3">
            <a:extLst>
              <a:ext uri="{FF2B5EF4-FFF2-40B4-BE49-F238E27FC236}">
                <a16:creationId xmlns:a16="http://schemas.microsoft.com/office/drawing/2014/main" id="{29D348FF-9AC7-4A00-B1A3-468BE3014FEC}"/>
              </a:ext>
            </a:extLst>
          </p:cNvPr>
          <p:cNvSpPr>
            <a:spLocks noGrp="1"/>
          </p:cNvSpPr>
          <p:nvPr>
            <p:ph type="body" sz="quarter" idx="69"/>
          </p:nvPr>
        </p:nvSpPr>
        <p:spPr>
          <a:xfrm>
            <a:off x="9106002" y="1631837"/>
            <a:ext cx="2570061"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5" name="Gerade Verbindung 71">
            <a:extLst>
              <a:ext uri="{FF2B5EF4-FFF2-40B4-BE49-F238E27FC236}">
                <a16:creationId xmlns:a16="http://schemas.microsoft.com/office/drawing/2014/main" id="{9777B3E4-5C84-4ECF-BB4F-827EB0A4BCA6}"/>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Datumsplatzhalter 5">
            <a:extLst>
              <a:ext uri="{FF2B5EF4-FFF2-40B4-BE49-F238E27FC236}">
                <a16:creationId xmlns:a16="http://schemas.microsoft.com/office/drawing/2014/main" id="{C6AB4FA3-3D7D-467C-A9E2-F0AD355E8FF7}"/>
              </a:ext>
            </a:extLst>
          </p:cNvPr>
          <p:cNvSpPr>
            <a:spLocks noGrp="1"/>
          </p:cNvSpPr>
          <p:nvPr>
            <p:ph type="dt" sz="half" idx="70"/>
          </p:nvPr>
        </p:nvSpPr>
        <p:spPr/>
        <p:txBody>
          <a:bodyPr/>
          <a:lstStyle/>
          <a:p>
            <a:fld id="{D2A2CB64-6021-4726-9A47-28E9CA4542AC}" type="datetime4">
              <a:rPr lang="de-DE" smtClean="0"/>
              <a:t>17. Februar 2025</a:t>
            </a:fld>
            <a:endParaRPr lang="de-DE"/>
          </a:p>
        </p:txBody>
      </p:sp>
      <p:sp>
        <p:nvSpPr>
          <p:cNvPr id="8" name="Foliennummernplatzhalter 7">
            <a:extLst>
              <a:ext uri="{FF2B5EF4-FFF2-40B4-BE49-F238E27FC236}">
                <a16:creationId xmlns:a16="http://schemas.microsoft.com/office/drawing/2014/main" id="{923FC128-F0EB-4C08-9299-AE8CF288858C}"/>
              </a:ext>
            </a:extLst>
          </p:cNvPr>
          <p:cNvSpPr>
            <a:spLocks noGrp="1"/>
          </p:cNvSpPr>
          <p:nvPr>
            <p:ph type="sldNum" sz="quarter" idx="72"/>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23936145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folie | 4 Blöck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A276B4CC-8E3B-49AA-A6D3-2C309ED8CFEE}"/>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4" name="Textplatzhalter 3">
            <a:extLst>
              <a:ext uri="{FF2B5EF4-FFF2-40B4-BE49-F238E27FC236}">
                <a16:creationId xmlns:a16="http://schemas.microsoft.com/office/drawing/2014/main" id="{74DC0976-C523-4842-8BFE-0A9CBF3B503A}"/>
              </a:ext>
            </a:extLst>
          </p:cNvPr>
          <p:cNvSpPr>
            <a:spLocks noGrp="1"/>
          </p:cNvSpPr>
          <p:nvPr>
            <p:ph type="body" sz="quarter" idx="68"/>
          </p:nvPr>
        </p:nvSpPr>
        <p:spPr>
          <a:xfrm>
            <a:off x="518318" y="1631837"/>
            <a:ext cx="5433219" cy="2086521"/>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3">
            <a:extLst>
              <a:ext uri="{FF2B5EF4-FFF2-40B4-BE49-F238E27FC236}">
                <a16:creationId xmlns:a16="http://schemas.microsoft.com/office/drawing/2014/main" id="{DBBDED6D-1B2A-4452-8222-8F9BFC9EAEFF}"/>
              </a:ext>
            </a:extLst>
          </p:cNvPr>
          <p:cNvSpPr>
            <a:spLocks noGrp="1"/>
          </p:cNvSpPr>
          <p:nvPr>
            <p:ph type="body" sz="quarter" idx="69"/>
          </p:nvPr>
        </p:nvSpPr>
        <p:spPr>
          <a:xfrm>
            <a:off x="518318" y="4006299"/>
            <a:ext cx="5433219" cy="2086521"/>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1" name="Textplatzhalter 3">
            <a:extLst>
              <a:ext uri="{FF2B5EF4-FFF2-40B4-BE49-F238E27FC236}">
                <a16:creationId xmlns:a16="http://schemas.microsoft.com/office/drawing/2014/main" id="{2A5093DB-E40A-443C-AE2F-5BD6332BA4DD}"/>
              </a:ext>
            </a:extLst>
          </p:cNvPr>
          <p:cNvSpPr>
            <a:spLocks noGrp="1"/>
          </p:cNvSpPr>
          <p:nvPr>
            <p:ph type="body" sz="quarter" idx="70"/>
          </p:nvPr>
        </p:nvSpPr>
        <p:spPr>
          <a:xfrm>
            <a:off x="6242844" y="1631837"/>
            <a:ext cx="5433219" cy="2086521"/>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2" name="Textplatzhalter 3">
            <a:extLst>
              <a:ext uri="{FF2B5EF4-FFF2-40B4-BE49-F238E27FC236}">
                <a16:creationId xmlns:a16="http://schemas.microsoft.com/office/drawing/2014/main" id="{8E5BB036-1A1C-4EB9-AF21-69D3C12FF402}"/>
              </a:ext>
            </a:extLst>
          </p:cNvPr>
          <p:cNvSpPr>
            <a:spLocks noGrp="1"/>
          </p:cNvSpPr>
          <p:nvPr>
            <p:ph type="body" sz="quarter" idx="71"/>
          </p:nvPr>
        </p:nvSpPr>
        <p:spPr>
          <a:xfrm>
            <a:off x="6242844" y="4006299"/>
            <a:ext cx="5433219" cy="2086521"/>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4" name="Gerade Verbindung 71">
            <a:extLst>
              <a:ext uri="{FF2B5EF4-FFF2-40B4-BE49-F238E27FC236}">
                <a16:creationId xmlns:a16="http://schemas.microsoft.com/office/drawing/2014/main" id="{402158F7-C9FB-49D1-A70D-91C0BFCA16BC}"/>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Datumsplatzhalter 5">
            <a:extLst>
              <a:ext uri="{FF2B5EF4-FFF2-40B4-BE49-F238E27FC236}">
                <a16:creationId xmlns:a16="http://schemas.microsoft.com/office/drawing/2014/main" id="{6FDD6406-4BCE-49C6-9930-2BBBDB55DDC1}"/>
              </a:ext>
            </a:extLst>
          </p:cNvPr>
          <p:cNvSpPr>
            <a:spLocks noGrp="1"/>
          </p:cNvSpPr>
          <p:nvPr>
            <p:ph type="dt" sz="half" idx="72"/>
          </p:nvPr>
        </p:nvSpPr>
        <p:spPr/>
        <p:txBody>
          <a:bodyPr/>
          <a:lstStyle/>
          <a:p>
            <a:fld id="{9C925F69-B5D8-4FB5-93AA-F9AF88E20B2E}" type="datetime4">
              <a:rPr lang="de-DE" smtClean="0"/>
              <a:t>17. Februar 2025</a:t>
            </a:fld>
            <a:endParaRPr lang="de-DE"/>
          </a:p>
        </p:txBody>
      </p:sp>
      <p:sp>
        <p:nvSpPr>
          <p:cNvPr id="8" name="Foliennummernplatzhalter 7">
            <a:extLst>
              <a:ext uri="{FF2B5EF4-FFF2-40B4-BE49-F238E27FC236}">
                <a16:creationId xmlns:a16="http://schemas.microsoft.com/office/drawing/2014/main" id="{47FA17DC-A574-4B2C-9825-B9FB8488632B}"/>
              </a:ext>
            </a:extLst>
          </p:cNvPr>
          <p:cNvSpPr>
            <a:spLocks noGrp="1"/>
          </p:cNvSpPr>
          <p:nvPr>
            <p:ph type="sldNum" sz="quarter" idx="74"/>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37365444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Bild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sp>
        <p:nvSpPr>
          <p:cNvPr id="10" name="Bildplatzhalter 9">
            <a:extLst>
              <a:ext uri="{FF2B5EF4-FFF2-40B4-BE49-F238E27FC236}">
                <a16:creationId xmlns:a16="http://schemas.microsoft.com/office/drawing/2014/main" id="{A110DE13-884C-476D-A18E-6F6ED1A03B99}"/>
              </a:ext>
            </a:extLst>
          </p:cNvPr>
          <p:cNvSpPr>
            <a:spLocks noGrp="1"/>
          </p:cNvSpPr>
          <p:nvPr>
            <p:ph type="pic" sz="quarter" idx="57" hasCustomPrompt="1"/>
          </p:nvPr>
        </p:nvSpPr>
        <p:spPr>
          <a:xfrm>
            <a:off x="6242847" y="1631837"/>
            <a:ext cx="5433216"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1" name="Textplatzhalter 8">
            <a:extLst>
              <a:ext uri="{FF2B5EF4-FFF2-40B4-BE49-F238E27FC236}">
                <a16:creationId xmlns:a16="http://schemas.microsoft.com/office/drawing/2014/main" id="{F8B81FA6-341F-4F98-BDCB-E4F6B6D12B40}"/>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4" name="Textplatzhalter 3">
            <a:extLst>
              <a:ext uri="{FF2B5EF4-FFF2-40B4-BE49-F238E27FC236}">
                <a16:creationId xmlns:a16="http://schemas.microsoft.com/office/drawing/2014/main" id="{219180E3-3297-4CBF-9A1C-BF98BA2B7514}"/>
              </a:ext>
            </a:extLst>
          </p:cNvPr>
          <p:cNvSpPr>
            <a:spLocks noGrp="1"/>
          </p:cNvSpPr>
          <p:nvPr>
            <p:ph type="body" sz="quarter" idx="64"/>
          </p:nvPr>
        </p:nvSpPr>
        <p:spPr>
          <a:xfrm>
            <a:off x="518319" y="1631837"/>
            <a:ext cx="5433219"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2" name="Gerade Verbindung 71">
            <a:extLst>
              <a:ext uri="{FF2B5EF4-FFF2-40B4-BE49-F238E27FC236}">
                <a16:creationId xmlns:a16="http://schemas.microsoft.com/office/drawing/2014/main" id="{8AD5A654-A7AA-4BE0-BEE4-79B9D17A50AE}"/>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8" name="Foliennummernplatzhalter 7">
            <a:extLst>
              <a:ext uri="{FF2B5EF4-FFF2-40B4-BE49-F238E27FC236}">
                <a16:creationId xmlns:a16="http://schemas.microsoft.com/office/drawing/2014/main" id="{FC943665-7B85-4275-8A8C-35729DEFB6A6}"/>
              </a:ext>
            </a:extLst>
          </p:cNvPr>
          <p:cNvSpPr>
            <a:spLocks noGrp="1"/>
          </p:cNvSpPr>
          <p:nvPr>
            <p:ph type="sldNum" sz="quarter" idx="67"/>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385462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 Bildfolie |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sp>
        <p:nvSpPr>
          <p:cNvPr id="10" name="Bildplatzhalter 9">
            <a:extLst>
              <a:ext uri="{FF2B5EF4-FFF2-40B4-BE49-F238E27FC236}">
                <a16:creationId xmlns:a16="http://schemas.microsoft.com/office/drawing/2014/main" id="{A110DE13-884C-476D-A18E-6F6ED1A03B99}"/>
              </a:ext>
            </a:extLst>
          </p:cNvPr>
          <p:cNvSpPr>
            <a:spLocks noGrp="1"/>
          </p:cNvSpPr>
          <p:nvPr>
            <p:ph type="pic" sz="quarter" idx="57" hasCustomPrompt="1"/>
          </p:nvPr>
        </p:nvSpPr>
        <p:spPr>
          <a:xfrm>
            <a:off x="6242847" y="1631837"/>
            <a:ext cx="2572145"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11" name="Bildplatzhalter 9">
            <a:extLst>
              <a:ext uri="{FF2B5EF4-FFF2-40B4-BE49-F238E27FC236}">
                <a16:creationId xmlns:a16="http://schemas.microsoft.com/office/drawing/2014/main" id="{DE207224-BD49-486F-AD1A-8E3330BDCF5D}"/>
              </a:ext>
            </a:extLst>
          </p:cNvPr>
          <p:cNvSpPr>
            <a:spLocks noGrp="1"/>
          </p:cNvSpPr>
          <p:nvPr>
            <p:ph type="pic" sz="quarter" idx="58" hasCustomPrompt="1"/>
          </p:nvPr>
        </p:nvSpPr>
        <p:spPr>
          <a:xfrm>
            <a:off x="9103918" y="1631837"/>
            <a:ext cx="2572145"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cxnSp>
        <p:nvCxnSpPr>
          <p:cNvPr id="12" name="Gerade Verbindung 71">
            <a:extLst>
              <a:ext uri="{FF2B5EF4-FFF2-40B4-BE49-F238E27FC236}">
                <a16:creationId xmlns:a16="http://schemas.microsoft.com/office/drawing/2014/main" id="{F9229CDC-3BC6-41B6-92A7-3D626B3207F0}"/>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5" name="Textplatzhalter 8">
            <a:extLst>
              <a:ext uri="{FF2B5EF4-FFF2-40B4-BE49-F238E27FC236}">
                <a16:creationId xmlns:a16="http://schemas.microsoft.com/office/drawing/2014/main" id="{67019CAF-952D-4F3E-8D6F-25ACB42A0F4C}"/>
              </a:ext>
            </a:extLst>
          </p:cNvPr>
          <p:cNvSpPr>
            <a:spLocks noGrp="1"/>
          </p:cNvSpPr>
          <p:nvPr>
            <p:ph type="body" sz="quarter" idx="64"/>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6" name="Textplatzhalter 3">
            <a:extLst>
              <a:ext uri="{FF2B5EF4-FFF2-40B4-BE49-F238E27FC236}">
                <a16:creationId xmlns:a16="http://schemas.microsoft.com/office/drawing/2014/main" id="{2BD66A5F-8890-45C7-AFA2-FBAFE51EAA5D}"/>
              </a:ext>
            </a:extLst>
          </p:cNvPr>
          <p:cNvSpPr>
            <a:spLocks noGrp="1"/>
          </p:cNvSpPr>
          <p:nvPr>
            <p:ph type="body" sz="quarter" idx="65"/>
          </p:nvPr>
        </p:nvSpPr>
        <p:spPr>
          <a:xfrm>
            <a:off x="518319" y="1631837"/>
            <a:ext cx="5433219" cy="3618387"/>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950776CE-C715-4BB6-9753-D24EE139A4F8}"/>
              </a:ext>
            </a:extLst>
          </p:cNvPr>
          <p:cNvSpPr>
            <a:spLocks noGrp="1"/>
          </p:cNvSpPr>
          <p:nvPr>
            <p:ph type="body" sz="quarter" idx="66" hasCustomPrompt="1"/>
          </p:nvPr>
        </p:nvSpPr>
        <p:spPr>
          <a:xfrm>
            <a:off x="4871538" y="5634172"/>
            <a:ext cx="1080000" cy="461665"/>
          </a:xfrm>
        </p:spPr>
        <p:txBody>
          <a:bodyPr wrap="square">
            <a:noAutofit/>
          </a:bodyPr>
          <a:lstStyle>
            <a:lvl1pPr algn="r">
              <a:spcAft>
                <a:spcPts val="0"/>
              </a:spcAft>
              <a:defRPr sz="1000"/>
            </a:lvl1pPr>
            <a:lvl2pPr marL="0" indent="0">
              <a:buNone/>
              <a:defRPr/>
            </a:lvl2pPr>
          </a:lstStyle>
          <a:p>
            <a:pPr lvl="0"/>
            <a:r>
              <a:rPr lang="de-DE"/>
              <a:t>02</a:t>
            </a:r>
            <a:br>
              <a:rPr lang="de-DE"/>
            </a:br>
            <a:r>
              <a:rPr lang="de-DE"/>
              <a:t>Mastertextformat</a:t>
            </a:r>
            <a:br>
              <a:rPr lang="de-DE"/>
            </a:br>
            <a:r>
              <a:rPr lang="de-DE"/>
              <a:t>bearbeiten</a:t>
            </a:r>
          </a:p>
        </p:txBody>
      </p:sp>
      <p:sp>
        <p:nvSpPr>
          <p:cNvPr id="17" name="Textplatzhalter 3">
            <a:extLst>
              <a:ext uri="{FF2B5EF4-FFF2-40B4-BE49-F238E27FC236}">
                <a16:creationId xmlns:a16="http://schemas.microsoft.com/office/drawing/2014/main" id="{0FA2D9FE-5416-445D-999A-5E09BE4B77B4}"/>
              </a:ext>
            </a:extLst>
          </p:cNvPr>
          <p:cNvSpPr>
            <a:spLocks noGrp="1"/>
          </p:cNvSpPr>
          <p:nvPr>
            <p:ph type="body" sz="quarter" idx="67" hasCustomPrompt="1"/>
          </p:nvPr>
        </p:nvSpPr>
        <p:spPr>
          <a:xfrm>
            <a:off x="3502611" y="5634172"/>
            <a:ext cx="1080000" cy="461665"/>
          </a:xfrm>
        </p:spPr>
        <p:txBody>
          <a:bodyPr wrap="square">
            <a:noAutofit/>
          </a:bodyPr>
          <a:lstStyle>
            <a:lvl1pPr algn="r">
              <a:spcAft>
                <a:spcPts val="0"/>
              </a:spcAft>
              <a:defRPr sz="1000"/>
            </a:lvl1pPr>
            <a:lvl2pPr marL="0" indent="0">
              <a:buNone/>
              <a:defRPr/>
            </a:lvl2pPr>
          </a:lstStyle>
          <a:p>
            <a:pPr lvl="0"/>
            <a:r>
              <a:rPr lang="de-DE"/>
              <a:t>01</a:t>
            </a:r>
            <a:br>
              <a:rPr lang="de-DE"/>
            </a:br>
            <a:r>
              <a:rPr lang="de-DE"/>
              <a:t>Mastertextformat</a:t>
            </a:r>
            <a:br>
              <a:rPr lang="de-DE"/>
            </a:br>
            <a:r>
              <a:rPr lang="de-DE"/>
              <a:t>bearbeiten</a:t>
            </a:r>
          </a:p>
        </p:txBody>
      </p:sp>
      <p:sp>
        <p:nvSpPr>
          <p:cNvPr id="18" name="Textplatzhalter 3">
            <a:extLst>
              <a:ext uri="{FF2B5EF4-FFF2-40B4-BE49-F238E27FC236}">
                <a16:creationId xmlns:a16="http://schemas.microsoft.com/office/drawing/2014/main" id="{4758C8A2-BB5A-4369-8E47-1B3AD76831CB}"/>
              </a:ext>
            </a:extLst>
          </p:cNvPr>
          <p:cNvSpPr>
            <a:spLocks noGrp="1"/>
          </p:cNvSpPr>
          <p:nvPr>
            <p:ph type="body" sz="quarter" idx="68" hasCustomPrompt="1"/>
          </p:nvPr>
        </p:nvSpPr>
        <p:spPr>
          <a:xfrm>
            <a:off x="6242847" y="5634172"/>
            <a:ext cx="342680" cy="461665"/>
          </a:xfrm>
        </p:spPr>
        <p:txBody>
          <a:bodyPr wrap="none">
            <a:noAutofit/>
          </a:bodyPr>
          <a:lstStyle>
            <a:lvl1pPr algn="r">
              <a:spcAft>
                <a:spcPts val="0"/>
              </a:spcAft>
              <a:defRPr sz="1000">
                <a:solidFill>
                  <a:schemeClr val="bg2"/>
                </a:solidFill>
              </a:defRPr>
            </a:lvl1pPr>
            <a:lvl2pPr marL="0" indent="0">
              <a:buNone/>
              <a:defRPr/>
            </a:lvl2pPr>
          </a:lstStyle>
          <a:p>
            <a:pPr lvl="0"/>
            <a:r>
              <a:rPr lang="de-DE"/>
              <a:t>01</a:t>
            </a:r>
          </a:p>
        </p:txBody>
      </p:sp>
      <p:sp>
        <p:nvSpPr>
          <p:cNvPr id="19" name="Textplatzhalter 3">
            <a:extLst>
              <a:ext uri="{FF2B5EF4-FFF2-40B4-BE49-F238E27FC236}">
                <a16:creationId xmlns:a16="http://schemas.microsoft.com/office/drawing/2014/main" id="{EB3A890A-9CCC-4136-9288-897A93AE1F08}"/>
              </a:ext>
            </a:extLst>
          </p:cNvPr>
          <p:cNvSpPr>
            <a:spLocks noGrp="1"/>
          </p:cNvSpPr>
          <p:nvPr>
            <p:ph type="body" sz="quarter" idx="69" hasCustomPrompt="1"/>
          </p:nvPr>
        </p:nvSpPr>
        <p:spPr>
          <a:xfrm>
            <a:off x="9103918" y="5634172"/>
            <a:ext cx="342680" cy="461665"/>
          </a:xfrm>
        </p:spPr>
        <p:txBody>
          <a:bodyPr wrap="none">
            <a:noAutofit/>
          </a:bodyPr>
          <a:lstStyle>
            <a:lvl1pPr algn="r">
              <a:spcAft>
                <a:spcPts val="0"/>
              </a:spcAft>
              <a:defRPr sz="1000">
                <a:solidFill>
                  <a:schemeClr val="bg2"/>
                </a:solidFill>
              </a:defRPr>
            </a:lvl1pPr>
            <a:lvl2pPr marL="0" indent="0">
              <a:buNone/>
              <a:defRPr/>
            </a:lvl2pPr>
          </a:lstStyle>
          <a:p>
            <a:pPr lvl="0"/>
            <a:r>
              <a:rPr lang="de-DE"/>
              <a:t>01</a:t>
            </a:r>
          </a:p>
        </p:txBody>
      </p:sp>
      <p:cxnSp>
        <p:nvCxnSpPr>
          <p:cNvPr id="20" name="Gerade Verbindung 71">
            <a:extLst>
              <a:ext uri="{FF2B5EF4-FFF2-40B4-BE49-F238E27FC236}">
                <a16:creationId xmlns:a16="http://schemas.microsoft.com/office/drawing/2014/main" id="{DCD48792-2155-489C-A782-DE9270EDD7B6}"/>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9" name="Foliennummernplatzhalter 8">
            <a:extLst>
              <a:ext uri="{FF2B5EF4-FFF2-40B4-BE49-F238E27FC236}">
                <a16:creationId xmlns:a16="http://schemas.microsoft.com/office/drawing/2014/main" id="{F962FD86-F3E7-4444-A66E-F5DC528E3073}"/>
              </a:ext>
            </a:extLst>
          </p:cNvPr>
          <p:cNvSpPr>
            <a:spLocks noGrp="1"/>
          </p:cNvSpPr>
          <p:nvPr>
            <p:ph type="sldNum" sz="quarter" idx="72"/>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36791797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ild- Textfolie">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A110DE13-884C-476D-A18E-6F6ED1A03B99}"/>
              </a:ext>
            </a:extLst>
          </p:cNvPr>
          <p:cNvSpPr>
            <a:spLocks noGrp="1"/>
          </p:cNvSpPr>
          <p:nvPr>
            <p:ph type="pic" sz="quarter" idx="57" hasCustomPrompt="1"/>
          </p:nvPr>
        </p:nvSpPr>
        <p:spPr>
          <a:xfrm>
            <a:off x="518319" y="1631837"/>
            <a:ext cx="5433216"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9" name="Gerade Verbindung 71">
            <a:extLst>
              <a:ext uri="{FF2B5EF4-FFF2-40B4-BE49-F238E27FC236}">
                <a16:creationId xmlns:a16="http://schemas.microsoft.com/office/drawing/2014/main" id="{B373B185-DA03-4F17-9BE9-B716E16FE702}"/>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3" name="Textplatzhalter 8">
            <a:extLst>
              <a:ext uri="{FF2B5EF4-FFF2-40B4-BE49-F238E27FC236}">
                <a16:creationId xmlns:a16="http://schemas.microsoft.com/office/drawing/2014/main" id="{F1578027-2A9A-485E-94CA-26294C7CB327}"/>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4" name="Textplatzhalter 3">
            <a:extLst>
              <a:ext uri="{FF2B5EF4-FFF2-40B4-BE49-F238E27FC236}">
                <a16:creationId xmlns:a16="http://schemas.microsoft.com/office/drawing/2014/main" id="{02C0F8EF-24A8-485F-AAF4-B9275B071EB6}"/>
              </a:ext>
            </a:extLst>
          </p:cNvPr>
          <p:cNvSpPr>
            <a:spLocks noGrp="1"/>
          </p:cNvSpPr>
          <p:nvPr>
            <p:ph type="body" sz="quarter" idx="65"/>
          </p:nvPr>
        </p:nvSpPr>
        <p:spPr>
          <a:xfrm>
            <a:off x="6242844" y="1631837"/>
            <a:ext cx="5433219"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1" name="Gerade Verbindung 71">
            <a:extLst>
              <a:ext uri="{FF2B5EF4-FFF2-40B4-BE49-F238E27FC236}">
                <a16:creationId xmlns:a16="http://schemas.microsoft.com/office/drawing/2014/main" id="{D754BE1D-D807-41C3-AF04-11BE8305EB34}"/>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5" name="Foliennummernplatzhalter 4">
            <a:extLst>
              <a:ext uri="{FF2B5EF4-FFF2-40B4-BE49-F238E27FC236}">
                <a16:creationId xmlns:a16="http://schemas.microsoft.com/office/drawing/2014/main" id="{D74DA190-BDAA-4CB1-8024-FA9327187178}"/>
              </a:ext>
            </a:extLst>
          </p:cNvPr>
          <p:cNvSpPr>
            <a:spLocks noGrp="1"/>
          </p:cNvSpPr>
          <p:nvPr>
            <p:ph type="sldNum" sz="quarter" idx="68"/>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23129737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ild- Textfolie | 2 Bilder">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A110DE13-884C-476D-A18E-6F6ED1A03B99}"/>
              </a:ext>
            </a:extLst>
          </p:cNvPr>
          <p:cNvSpPr>
            <a:spLocks noGrp="1"/>
          </p:cNvSpPr>
          <p:nvPr>
            <p:ph type="pic" sz="quarter" idx="57" hasCustomPrompt="1"/>
          </p:nvPr>
        </p:nvSpPr>
        <p:spPr>
          <a:xfrm>
            <a:off x="518319" y="1631837"/>
            <a:ext cx="2572145"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sp>
        <p:nvSpPr>
          <p:cNvPr id="11" name="Bildplatzhalter 9">
            <a:extLst>
              <a:ext uri="{FF2B5EF4-FFF2-40B4-BE49-F238E27FC236}">
                <a16:creationId xmlns:a16="http://schemas.microsoft.com/office/drawing/2014/main" id="{5A4E8199-7A92-4A66-8124-B13B4C014735}"/>
              </a:ext>
            </a:extLst>
          </p:cNvPr>
          <p:cNvSpPr>
            <a:spLocks noGrp="1"/>
          </p:cNvSpPr>
          <p:nvPr>
            <p:ph type="pic" sz="quarter" idx="58" hasCustomPrompt="1"/>
          </p:nvPr>
        </p:nvSpPr>
        <p:spPr>
          <a:xfrm>
            <a:off x="3379392" y="1631837"/>
            <a:ext cx="2572145"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cxnSp>
        <p:nvCxnSpPr>
          <p:cNvPr id="12" name="Gerade Verbindung 71">
            <a:extLst>
              <a:ext uri="{FF2B5EF4-FFF2-40B4-BE49-F238E27FC236}">
                <a16:creationId xmlns:a16="http://schemas.microsoft.com/office/drawing/2014/main" id="{507CC524-2144-4589-B013-A85FB1062C25}"/>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5" name="Textplatzhalter 8">
            <a:extLst>
              <a:ext uri="{FF2B5EF4-FFF2-40B4-BE49-F238E27FC236}">
                <a16:creationId xmlns:a16="http://schemas.microsoft.com/office/drawing/2014/main" id="{061F6D30-1E0B-46ED-9FBA-4F7AF9D857E8}"/>
              </a:ext>
            </a:extLst>
          </p:cNvPr>
          <p:cNvSpPr>
            <a:spLocks noGrp="1"/>
          </p:cNvSpPr>
          <p:nvPr>
            <p:ph type="body" sz="quarter" idx="64"/>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6" name="Textplatzhalter 3">
            <a:extLst>
              <a:ext uri="{FF2B5EF4-FFF2-40B4-BE49-F238E27FC236}">
                <a16:creationId xmlns:a16="http://schemas.microsoft.com/office/drawing/2014/main" id="{E782CB96-581D-4138-8E6D-A203BF9A3FAC}"/>
              </a:ext>
            </a:extLst>
          </p:cNvPr>
          <p:cNvSpPr>
            <a:spLocks noGrp="1"/>
          </p:cNvSpPr>
          <p:nvPr>
            <p:ph type="body" sz="quarter" idx="65"/>
          </p:nvPr>
        </p:nvSpPr>
        <p:spPr>
          <a:xfrm>
            <a:off x="6242844" y="1631837"/>
            <a:ext cx="5433219" cy="3618392"/>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CDA597C6-0A4F-4BA3-9D9F-D018CC3CEB6B}"/>
              </a:ext>
            </a:extLst>
          </p:cNvPr>
          <p:cNvSpPr>
            <a:spLocks noGrp="1"/>
          </p:cNvSpPr>
          <p:nvPr>
            <p:ph type="body" sz="quarter" idx="66" hasCustomPrompt="1"/>
          </p:nvPr>
        </p:nvSpPr>
        <p:spPr>
          <a:xfrm>
            <a:off x="7611773" y="5634172"/>
            <a:ext cx="1080000" cy="461665"/>
          </a:xfrm>
        </p:spPr>
        <p:txBody>
          <a:bodyPr wrap="square">
            <a:noAutofit/>
          </a:bodyPr>
          <a:lstStyle>
            <a:lvl1pPr algn="l">
              <a:spcAft>
                <a:spcPts val="0"/>
              </a:spcAft>
              <a:defRPr sz="1000">
                <a:latin typeface="ZEISS Frutiger Next W1G"/>
                <a:cs typeface="Arial" panose="020B0604020202020204" pitchFamily="34" charset="0"/>
              </a:defRPr>
            </a:lvl1pPr>
            <a:lvl2pPr marL="0" indent="0">
              <a:buNone/>
              <a:defRPr/>
            </a:lvl2pPr>
          </a:lstStyle>
          <a:p>
            <a:pPr lvl="0"/>
            <a:r>
              <a:rPr lang="de-DE"/>
              <a:t>02</a:t>
            </a:r>
            <a:br>
              <a:rPr lang="de-DE"/>
            </a:br>
            <a:r>
              <a:rPr lang="de-DE"/>
              <a:t>Mastertextformat</a:t>
            </a:r>
            <a:br>
              <a:rPr lang="de-DE"/>
            </a:br>
            <a:r>
              <a:rPr lang="de-DE"/>
              <a:t>bearbeiten</a:t>
            </a:r>
          </a:p>
        </p:txBody>
      </p:sp>
      <p:sp>
        <p:nvSpPr>
          <p:cNvPr id="18" name="Textplatzhalter 3">
            <a:extLst>
              <a:ext uri="{FF2B5EF4-FFF2-40B4-BE49-F238E27FC236}">
                <a16:creationId xmlns:a16="http://schemas.microsoft.com/office/drawing/2014/main" id="{7BB86B27-C1F4-4CF2-B198-5D4BFE7A1B2D}"/>
              </a:ext>
            </a:extLst>
          </p:cNvPr>
          <p:cNvSpPr>
            <a:spLocks noGrp="1"/>
          </p:cNvSpPr>
          <p:nvPr>
            <p:ph type="body" sz="quarter" idx="67" hasCustomPrompt="1"/>
          </p:nvPr>
        </p:nvSpPr>
        <p:spPr>
          <a:xfrm>
            <a:off x="6242846" y="5634172"/>
            <a:ext cx="1080000" cy="461665"/>
          </a:xfrm>
        </p:spPr>
        <p:txBody>
          <a:bodyPr wrap="square">
            <a:noAutofit/>
          </a:bodyPr>
          <a:lstStyle>
            <a:lvl1pPr algn="l">
              <a:spcAft>
                <a:spcPts val="0"/>
              </a:spcAft>
              <a:defRPr sz="1000">
                <a:latin typeface="ZEISS Frutiger Next W1G"/>
                <a:cs typeface="Arial" panose="020B0604020202020204" pitchFamily="34" charset="0"/>
              </a:defRPr>
            </a:lvl1pPr>
            <a:lvl2pPr marL="0" indent="0">
              <a:buNone/>
              <a:defRPr/>
            </a:lvl2pPr>
          </a:lstStyle>
          <a:p>
            <a:pPr lvl="0"/>
            <a:r>
              <a:rPr lang="de-DE"/>
              <a:t>01</a:t>
            </a:r>
            <a:br>
              <a:rPr lang="de-DE"/>
            </a:br>
            <a:r>
              <a:rPr lang="de-DE"/>
              <a:t>Mastertextformat</a:t>
            </a:r>
            <a:br>
              <a:rPr lang="de-DE"/>
            </a:br>
            <a:r>
              <a:rPr lang="de-DE"/>
              <a:t>bearbeiten</a:t>
            </a:r>
          </a:p>
        </p:txBody>
      </p:sp>
      <p:sp>
        <p:nvSpPr>
          <p:cNvPr id="19" name="Textplatzhalter 3">
            <a:extLst>
              <a:ext uri="{FF2B5EF4-FFF2-40B4-BE49-F238E27FC236}">
                <a16:creationId xmlns:a16="http://schemas.microsoft.com/office/drawing/2014/main" id="{EB97C8C8-4903-4649-A7C4-146F348AE411}"/>
              </a:ext>
            </a:extLst>
          </p:cNvPr>
          <p:cNvSpPr>
            <a:spLocks noGrp="1"/>
          </p:cNvSpPr>
          <p:nvPr>
            <p:ph type="body" sz="quarter" idx="68" hasCustomPrompt="1"/>
          </p:nvPr>
        </p:nvSpPr>
        <p:spPr>
          <a:xfrm>
            <a:off x="2747784" y="5634172"/>
            <a:ext cx="342680" cy="461665"/>
          </a:xfrm>
        </p:spPr>
        <p:txBody>
          <a:bodyPr wrap="none">
            <a:noAutofit/>
          </a:bodyPr>
          <a:lstStyle>
            <a:lvl1pPr algn="l">
              <a:spcAft>
                <a:spcPts val="0"/>
              </a:spcAft>
              <a:defRPr sz="1000">
                <a:solidFill>
                  <a:schemeClr val="bg2"/>
                </a:solidFill>
              </a:defRPr>
            </a:lvl1pPr>
            <a:lvl2pPr marL="0" indent="0">
              <a:buNone/>
              <a:defRPr/>
            </a:lvl2pPr>
          </a:lstStyle>
          <a:p>
            <a:pPr lvl="0"/>
            <a:r>
              <a:rPr lang="de-DE"/>
              <a:t>01</a:t>
            </a:r>
          </a:p>
        </p:txBody>
      </p:sp>
      <p:sp>
        <p:nvSpPr>
          <p:cNvPr id="20" name="Textplatzhalter 3">
            <a:extLst>
              <a:ext uri="{FF2B5EF4-FFF2-40B4-BE49-F238E27FC236}">
                <a16:creationId xmlns:a16="http://schemas.microsoft.com/office/drawing/2014/main" id="{6F952D61-AD88-4D90-9FD3-D4025F3F52B4}"/>
              </a:ext>
            </a:extLst>
          </p:cNvPr>
          <p:cNvSpPr>
            <a:spLocks noGrp="1"/>
          </p:cNvSpPr>
          <p:nvPr>
            <p:ph type="body" sz="quarter" idx="69" hasCustomPrompt="1"/>
          </p:nvPr>
        </p:nvSpPr>
        <p:spPr>
          <a:xfrm>
            <a:off x="5608857" y="5634172"/>
            <a:ext cx="342680" cy="461665"/>
          </a:xfrm>
        </p:spPr>
        <p:txBody>
          <a:bodyPr wrap="none">
            <a:noAutofit/>
          </a:bodyPr>
          <a:lstStyle>
            <a:lvl1pPr algn="l">
              <a:spcAft>
                <a:spcPts val="0"/>
              </a:spcAft>
              <a:defRPr sz="1000">
                <a:solidFill>
                  <a:schemeClr val="bg2"/>
                </a:solidFill>
              </a:defRPr>
            </a:lvl1pPr>
            <a:lvl2pPr marL="0" indent="0">
              <a:buNone/>
              <a:defRPr/>
            </a:lvl2pPr>
          </a:lstStyle>
          <a:p>
            <a:pPr lvl="0"/>
            <a:r>
              <a:rPr lang="de-DE"/>
              <a:t>01</a:t>
            </a:r>
          </a:p>
        </p:txBody>
      </p:sp>
      <p:cxnSp>
        <p:nvCxnSpPr>
          <p:cNvPr id="21" name="Gerade Verbindung 71">
            <a:extLst>
              <a:ext uri="{FF2B5EF4-FFF2-40B4-BE49-F238E27FC236}">
                <a16:creationId xmlns:a16="http://schemas.microsoft.com/office/drawing/2014/main" id="{9F0A74BF-6F8E-4358-901D-D493ED7F05CC}"/>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5" name="Foliennummernplatzhalter 4">
            <a:extLst>
              <a:ext uri="{FF2B5EF4-FFF2-40B4-BE49-F238E27FC236}">
                <a16:creationId xmlns:a16="http://schemas.microsoft.com/office/drawing/2014/main" id="{EF838FAD-B7B0-40C8-A084-8E7E552AD989}"/>
              </a:ext>
            </a:extLst>
          </p:cNvPr>
          <p:cNvSpPr>
            <a:spLocks noGrp="1"/>
          </p:cNvSpPr>
          <p:nvPr>
            <p:ph type="sldNum" sz="quarter" idx="72"/>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1549983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ild- Textfolie | 3x Bild, 1x Text">
    <p:spTree>
      <p:nvGrpSpPr>
        <p:cNvPr id="1" name=""/>
        <p:cNvGrpSpPr/>
        <p:nvPr/>
      </p:nvGrpSpPr>
      <p:grpSpPr>
        <a:xfrm>
          <a:off x="0" y="0"/>
          <a:ext cx="0" cy="0"/>
          <a:chOff x="0" y="0"/>
          <a:chExt cx="0" cy="0"/>
        </a:xfrm>
      </p:grpSpPr>
      <p:sp>
        <p:nvSpPr>
          <p:cNvPr id="15" name="Bildplatzhalter 3">
            <a:extLst>
              <a:ext uri="{FF2B5EF4-FFF2-40B4-BE49-F238E27FC236}">
                <a16:creationId xmlns:a16="http://schemas.microsoft.com/office/drawing/2014/main" id="{6E754CB4-F023-45A0-B611-0ED33750D9DF}"/>
              </a:ext>
            </a:extLst>
          </p:cNvPr>
          <p:cNvSpPr>
            <a:spLocks noGrp="1"/>
          </p:cNvSpPr>
          <p:nvPr>
            <p:ph type="pic" sz="quarter" idx="71" hasCustomPrompt="1"/>
          </p:nvPr>
        </p:nvSpPr>
        <p:spPr>
          <a:xfrm>
            <a:off x="6243442" y="1631837"/>
            <a:ext cx="2570061" cy="4460988"/>
          </a:xfrm>
          <a:solidFill>
            <a:schemeClr val="bg2">
              <a:lumMod val="95000"/>
            </a:schemeClr>
          </a:solidFill>
        </p:spPr>
        <p:txBody>
          <a:bodyPr/>
          <a:lstStyle>
            <a:lvl1pPr>
              <a:defRPr/>
            </a:lvl1pPr>
          </a:lstStyle>
          <a:p>
            <a:r>
              <a:rPr lang="de-DE"/>
              <a:t> </a:t>
            </a:r>
          </a:p>
        </p:txBody>
      </p:sp>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6090A1F3-A7AB-42F7-9FBF-8736DC5882DB}"/>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9" name="Textplatzhalter 3">
            <a:extLst>
              <a:ext uri="{FF2B5EF4-FFF2-40B4-BE49-F238E27FC236}">
                <a16:creationId xmlns:a16="http://schemas.microsoft.com/office/drawing/2014/main" id="{29D348FF-9AC7-4A00-B1A3-468BE3014FEC}"/>
              </a:ext>
            </a:extLst>
          </p:cNvPr>
          <p:cNvSpPr>
            <a:spLocks noGrp="1"/>
          </p:cNvSpPr>
          <p:nvPr>
            <p:ph type="body" sz="quarter" idx="69"/>
          </p:nvPr>
        </p:nvSpPr>
        <p:spPr>
          <a:xfrm>
            <a:off x="9106002" y="1631837"/>
            <a:ext cx="2570061" cy="3618387"/>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Bildplatzhalter 3">
            <a:extLst>
              <a:ext uri="{FF2B5EF4-FFF2-40B4-BE49-F238E27FC236}">
                <a16:creationId xmlns:a16="http://schemas.microsoft.com/office/drawing/2014/main" id="{08BEA3D8-5EE9-4798-8C5D-DB778BA72105}"/>
              </a:ext>
            </a:extLst>
          </p:cNvPr>
          <p:cNvSpPr>
            <a:spLocks noGrp="1"/>
          </p:cNvSpPr>
          <p:nvPr>
            <p:ph type="pic" sz="quarter" idx="70" hasCustomPrompt="1"/>
          </p:nvPr>
        </p:nvSpPr>
        <p:spPr>
          <a:xfrm>
            <a:off x="518319" y="1631837"/>
            <a:ext cx="2570061" cy="4460988"/>
          </a:xfrm>
          <a:solidFill>
            <a:schemeClr val="bg2">
              <a:lumMod val="95000"/>
            </a:schemeClr>
          </a:solidFill>
        </p:spPr>
        <p:txBody>
          <a:bodyPr/>
          <a:lstStyle>
            <a:lvl1pPr>
              <a:defRPr/>
            </a:lvl1pPr>
          </a:lstStyle>
          <a:p>
            <a:r>
              <a:rPr lang="de-DE"/>
              <a:t> </a:t>
            </a:r>
          </a:p>
        </p:txBody>
      </p:sp>
      <p:sp>
        <p:nvSpPr>
          <p:cNvPr id="16" name="Bildplatzhalter 3">
            <a:extLst>
              <a:ext uri="{FF2B5EF4-FFF2-40B4-BE49-F238E27FC236}">
                <a16:creationId xmlns:a16="http://schemas.microsoft.com/office/drawing/2014/main" id="{5D5B8114-B5D9-41DA-B646-7C160DB49805}"/>
              </a:ext>
            </a:extLst>
          </p:cNvPr>
          <p:cNvSpPr>
            <a:spLocks noGrp="1"/>
          </p:cNvSpPr>
          <p:nvPr>
            <p:ph type="pic" sz="quarter" idx="72" hasCustomPrompt="1"/>
          </p:nvPr>
        </p:nvSpPr>
        <p:spPr>
          <a:xfrm>
            <a:off x="3380880" y="1631837"/>
            <a:ext cx="2570061" cy="4460988"/>
          </a:xfrm>
          <a:solidFill>
            <a:schemeClr val="bg2">
              <a:lumMod val="95000"/>
            </a:schemeClr>
          </a:solidFill>
        </p:spPr>
        <p:txBody>
          <a:bodyPr/>
          <a:lstStyle>
            <a:lvl1pPr>
              <a:defRPr/>
            </a:lvl1pPr>
          </a:lstStyle>
          <a:p>
            <a:r>
              <a:rPr lang="de-DE"/>
              <a:t> </a:t>
            </a:r>
          </a:p>
        </p:txBody>
      </p:sp>
      <p:sp>
        <p:nvSpPr>
          <p:cNvPr id="20" name="Textplatzhalter 3">
            <a:extLst>
              <a:ext uri="{FF2B5EF4-FFF2-40B4-BE49-F238E27FC236}">
                <a16:creationId xmlns:a16="http://schemas.microsoft.com/office/drawing/2014/main" id="{7ADB94BB-27AF-4A29-A952-D0905290E0FA}"/>
              </a:ext>
            </a:extLst>
          </p:cNvPr>
          <p:cNvSpPr>
            <a:spLocks noGrp="1"/>
          </p:cNvSpPr>
          <p:nvPr>
            <p:ph type="body" sz="quarter" idx="67" hasCustomPrompt="1"/>
          </p:nvPr>
        </p:nvSpPr>
        <p:spPr>
          <a:xfrm>
            <a:off x="9106001" y="5634172"/>
            <a:ext cx="2570061" cy="461665"/>
          </a:xfrm>
        </p:spPr>
        <p:txBody>
          <a:bodyPr wrap="square">
            <a:noAutofit/>
          </a:bodyPr>
          <a:lstStyle>
            <a:lvl1pPr algn="l">
              <a:spcAft>
                <a:spcPts val="0"/>
              </a:spcAft>
              <a:defRPr sz="1000">
                <a:latin typeface="ZEISS Frutiger Next W1G"/>
                <a:cs typeface="Arial" panose="020B0604020202020204" pitchFamily="34" charset="0"/>
              </a:defRPr>
            </a:lvl1pPr>
            <a:lvl2pPr marL="0" indent="0">
              <a:buNone/>
              <a:defRPr/>
            </a:lvl2pPr>
          </a:lstStyle>
          <a:p>
            <a:pPr lvl="0"/>
            <a:r>
              <a:rPr lang="de-DE"/>
              <a:t>Mastertextformat</a:t>
            </a:r>
            <a:br>
              <a:rPr lang="de-DE"/>
            </a:br>
            <a:r>
              <a:rPr lang="de-DE"/>
              <a:t>bearbeiten</a:t>
            </a:r>
          </a:p>
        </p:txBody>
      </p:sp>
      <p:cxnSp>
        <p:nvCxnSpPr>
          <p:cNvPr id="14" name="Gerade Verbindung 71">
            <a:extLst>
              <a:ext uri="{FF2B5EF4-FFF2-40B4-BE49-F238E27FC236}">
                <a16:creationId xmlns:a16="http://schemas.microsoft.com/office/drawing/2014/main" id="{156DDED1-AB20-4327-B15A-E1C685C766CA}"/>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8" name="Foliennummernplatzhalter 7">
            <a:extLst>
              <a:ext uri="{FF2B5EF4-FFF2-40B4-BE49-F238E27FC236}">
                <a16:creationId xmlns:a16="http://schemas.microsoft.com/office/drawing/2014/main" id="{DC5EAE03-4888-4842-BFB8-97CBB9A429F0}"/>
              </a:ext>
            </a:extLst>
          </p:cNvPr>
          <p:cNvSpPr>
            <a:spLocks noGrp="1"/>
          </p:cNvSpPr>
          <p:nvPr>
            <p:ph type="sldNum" sz="quarter" idx="75"/>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27708704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ld- Textfolie | 2x Bild, 2x Text">
    <p:spTree>
      <p:nvGrpSpPr>
        <p:cNvPr id="1" name=""/>
        <p:cNvGrpSpPr/>
        <p:nvPr/>
      </p:nvGrpSpPr>
      <p:grpSpPr>
        <a:xfrm>
          <a:off x="0" y="0"/>
          <a:ext cx="0" cy="0"/>
          <a:chOff x="0" y="0"/>
          <a:chExt cx="0" cy="0"/>
        </a:xfrm>
      </p:grpSpPr>
      <p:sp>
        <p:nvSpPr>
          <p:cNvPr id="15" name="Bildplatzhalter 3">
            <a:extLst>
              <a:ext uri="{FF2B5EF4-FFF2-40B4-BE49-F238E27FC236}">
                <a16:creationId xmlns:a16="http://schemas.microsoft.com/office/drawing/2014/main" id="{6E754CB4-F023-45A0-B611-0ED33750D9DF}"/>
              </a:ext>
            </a:extLst>
          </p:cNvPr>
          <p:cNvSpPr>
            <a:spLocks noGrp="1"/>
          </p:cNvSpPr>
          <p:nvPr>
            <p:ph type="pic" sz="quarter" idx="71" hasCustomPrompt="1"/>
          </p:nvPr>
        </p:nvSpPr>
        <p:spPr>
          <a:xfrm>
            <a:off x="6243442" y="1631837"/>
            <a:ext cx="2570061" cy="4460988"/>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6090A1F3-A7AB-42F7-9FBF-8736DC5882DB}"/>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9" name="Textplatzhalter 3">
            <a:extLst>
              <a:ext uri="{FF2B5EF4-FFF2-40B4-BE49-F238E27FC236}">
                <a16:creationId xmlns:a16="http://schemas.microsoft.com/office/drawing/2014/main" id="{29D348FF-9AC7-4A00-B1A3-468BE3014FEC}"/>
              </a:ext>
            </a:extLst>
          </p:cNvPr>
          <p:cNvSpPr>
            <a:spLocks noGrp="1"/>
          </p:cNvSpPr>
          <p:nvPr>
            <p:ph type="body" sz="quarter" idx="69"/>
          </p:nvPr>
        </p:nvSpPr>
        <p:spPr>
          <a:xfrm>
            <a:off x="9106002" y="1631837"/>
            <a:ext cx="2570061" cy="3618387"/>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Bildplatzhalter 3">
            <a:extLst>
              <a:ext uri="{FF2B5EF4-FFF2-40B4-BE49-F238E27FC236}">
                <a16:creationId xmlns:a16="http://schemas.microsoft.com/office/drawing/2014/main" id="{08BEA3D8-5EE9-4798-8C5D-DB778BA72105}"/>
              </a:ext>
            </a:extLst>
          </p:cNvPr>
          <p:cNvSpPr>
            <a:spLocks noGrp="1"/>
          </p:cNvSpPr>
          <p:nvPr>
            <p:ph type="pic" sz="quarter" idx="70" hasCustomPrompt="1"/>
          </p:nvPr>
        </p:nvSpPr>
        <p:spPr>
          <a:xfrm>
            <a:off x="518319" y="1631837"/>
            <a:ext cx="2570061" cy="4460988"/>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20" name="Textplatzhalter 3">
            <a:extLst>
              <a:ext uri="{FF2B5EF4-FFF2-40B4-BE49-F238E27FC236}">
                <a16:creationId xmlns:a16="http://schemas.microsoft.com/office/drawing/2014/main" id="{7ADB94BB-27AF-4A29-A952-D0905290E0FA}"/>
              </a:ext>
            </a:extLst>
          </p:cNvPr>
          <p:cNvSpPr>
            <a:spLocks noGrp="1"/>
          </p:cNvSpPr>
          <p:nvPr>
            <p:ph type="body" sz="quarter" idx="67" hasCustomPrompt="1"/>
          </p:nvPr>
        </p:nvSpPr>
        <p:spPr>
          <a:xfrm>
            <a:off x="9106001" y="5634172"/>
            <a:ext cx="2570061" cy="461665"/>
          </a:xfrm>
        </p:spPr>
        <p:txBody>
          <a:bodyPr wrap="square">
            <a:noAutofit/>
          </a:bodyPr>
          <a:lstStyle>
            <a:lvl1pPr algn="l">
              <a:spcAft>
                <a:spcPts val="0"/>
              </a:spcAft>
              <a:defRPr sz="1000">
                <a:latin typeface="ZEISS Frutiger Next W1G"/>
                <a:cs typeface="Arial" panose="020B0604020202020204" pitchFamily="34" charset="0"/>
              </a:defRPr>
            </a:lvl1pPr>
            <a:lvl2pPr marL="0" indent="0">
              <a:buNone/>
              <a:defRPr/>
            </a:lvl2pPr>
          </a:lstStyle>
          <a:p>
            <a:pPr lvl="0"/>
            <a:r>
              <a:rPr lang="de-DE"/>
              <a:t>Mastertextformat</a:t>
            </a:r>
            <a:br>
              <a:rPr lang="de-DE"/>
            </a:br>
            <a:r>
              <a:rPr lang="de-DE"/>
              <a:t>bearbeiten</a:t>
            </a:r>
          </a:p>
        </p:txBody>
      </p:sp>
      <p:sp>
        <p:nvSpPr>
          <p:cNvPr id="14" name="Textplatzhalter 3">
            <a:extLst>
              <a:ext uri="{FF2B5EF4-FFF2-40B4-BE49-F238E27FC236}">
                <a16:creationId xmlns:a16="http://schemas.microsoft.com/office/drawing/2014/main" id="{4E465F10-F1D4-4895-B962-24BDBDE68DC0}"/>
              </a:ext>
            </a:extLst>
          </p:cNvPr>
          <p:cNvSpPr>
            <a:spLocks noGrp="1"/>
          </p:cNvSpPr>
          <p:nvPr>
            <p:ph type="body" sz="quarter" idx="72"/>
          </p:nvPr>
        </p:nvSpPr>
        <p:spPr>
          <a:xfrm>
            <a:off x="3380880" y="1631837"/>
            <a:ext cx="2570061" cy="3618387"/>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BD1C0236-2D51-4C28-B36B-9C19644B9B5F}"/>
              </a:ext>
            </a:extLst>
          </p:cNvPr>
          <p:cNvSpPr>
            <a:spLocks noGrp="1"/>
          </p:cNvSpPr>
          <p:nvPr>
            <p:ph type="body" sz="quarter" idx="73" hasCustomPrompt="1"/>
          </p:nvPr>
        </p:nvSpPr>
        <p:spPr>
          <a:xfrm>
            <a:off x="3380880" y="5634172"/>
            <a:ext cx="2570061" cy="461665"/>
          </a:xfrm>
        </p:spPr>
        <p:txBody>
          <a:bodyPr wrap="square">
            <a:noAutofit/>
          </a:bodyPr>
          <a:lstStyle>
            <a:lvl1pPr algn="l">
              <a:spcAft>
                <a:spcPts val="0"/>
              </a:spcAft>
              <a:defRPr sz="1000">
                <a:latin typeface="ZEISS Frutiger Next W1G"/>
                <a:cs typeface="Arial" panose="020B0604020202020204" pitchFamily="34" charset="0"/>
              </a:defRPr>
            </a:lvl1pPr>
            <a:lvl2pPr marL="0" indent="0">
              <a:buNone/>
              <a:defRPr/>
            </a:lvl2pPr>
          </a:lstStyle>
          <a:p>
            <a:pPr lvl="0"/>
            <a:r>
              <a:rPr lang="de-DE"/>
              <a:t>Mastertextformat</a:t>
            </a:r>
            <a:br>
              <a:rPr lang="de-DE"/>
            </a:br>
            <a:r>
              <a:rPr lang="de-DE"/>
              <a:t>bearbeiten</a:t>
            </a:r>
          </a:p>
        </p:txBody>
      </p:sp>
      <p:cxnSp>
        <p:nvCxnSpPr>
          <p:cNvPr id="16" name="Gerade Verbindung 71">
            <a:extLst>
              <a:ext uri="{FF2B5EF4-FFF2-40B4-BE49-F238E27FC236}">
                <a16:creationId xmlns:a16="http://schemas.microsoft.com/office/drawing/2014/main" id="{B80848F1-2462-4919-81BF-023DB1F5427B}"/>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8" name="Foliennummernplatzhalter 7">
            <a:extLst>
              <a:ext uri="{FF2B5EF4-FFF2-40B4-BE49-F238E27FC236}">
                <a16:creationId xmlns:a16="http://schemas.microsoft.com/office/drawing/2014/main" id="{B5F2D4D1-58F5-41C5-A804-52C04C2A0B5D}"/>
              </a:ext>
            </a:extLst>
          </p:cNvPr>
          <p:cNvSpPr>
            <a:spLocks noGrp="1"/>
          </p:cNvSpPr>
          <p:nvPr>
            <p:ph type="sldNum" sz="quarter" idx="76"/>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2915814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ild- Textfolie | 2x Bild, 2x Text - untereinan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A276B4CC-8E3B-49AA-A6D3-2C309ED8CFEE}"/>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21" name="Textplatzhalter 3">
            <a:extLst>
              <a:ext uri="{FF2B5EF4-FFF2-40B4-BE49-F238E27FC236}">
                <a16:creationId xmlns:a16="http://schemas.microsoft.com/office/drawing/2014/main" id="{2A5093DB-E40A-443C-AE2F-5BD6332BA4DD}"/>
              </a:ext>
            </a:extLst>
          </p:cNvPr>
          <p:cNvSpPr>
            <a:spLocks noGrp="1"/>
          </p:cNvSpPr>
          <p:nvPr>
            <p:ph type="body" sz="quarter" idx="70"/>
          </p:nvPr>
        </p:nvSpPr>
        <p:spPr>
          <a:xfrm>
            <a:off x="6242844" y="1631837"/>
            <a:ext cx="5433219" cy="2086521"/>
          </a:xfrm>
        </p:spPr>
        <p:txBody>
          <a:bodyPr/>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2" name="Textplatzhalter 3">
            <a:extLst>
              <a:ext uri="{FF2B5EF4-FFF2-40B4-BE49-F238E27FC236}">
                <a16:creationId xmlns:a16="http://schemas.microsoft.com/office/drawing/2014/main" id="{8E5BB036-1A1C-4EB9-AF21-69D3C12FF402}"/>
              </a:ext>
            </a:extLst>
          </p:cNvPr>
          <p:cNvSpPr>
            <a:spLocks noGrp="1"/>
          </p:cNvSpPr>
          <p:nvPr>
            <p:ph type="body" sz="quarter" idx="71"/>
          </p:nvPr>
        </p:nvSpPr>
        <p:spPr>
          <a:xfrm>
            <a:off x="6242844" y="4006299"/>
            <a:ext cx="5433219" cy="2086521"/>
          </a:xfrm>
        </p:spPr>
        <p:txBody>
          <a:bodyPr/>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773FBE26-823C-44A4-9918-6F7FC142C360}"/>
              </a:ext>
            </a:extLst>
          </p:cNvPr>
          <p:cNvSpPr>
            <a:spLocks noGrp="1"/>
          </p:cNvSpPr>
          <p:nvPr>
            <p:ph type="pic" sz="quarter" idx="72" hasCustomPrompt="1"/>
          </p:nvPr>
        </p:nvSpPr>
        <p:spPr>
          <a:xfrm>
            <a:off x="518318" y="1631837"/>
            <a:ext cx="5433219" cy="2086517"/>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14" name="Bildplatzhalter 4">
            <a:extLst>
              <a:ext uri="{FF2B5EF4-FFF2-40B4-BE49-F238E27FC236}">
                <a16:creationId xmlns:a16="http://schemas.microsoft.com/office/drawing/2014/main" id="{F2E74611-DA65-4DA5-8289-B430E76A77AF}"/>
              </a:ext>
            </a:extLst>
          </p:cNvPr>
          <p:cNvSpPr>
            <a:spLocks noGrp="1"/>
          </p:cNvSpPr>
          <p:nvPr>
            <p:ph type="pic" sz="quarter" idx="73" hasCustomPrompt="1"/>
          </p:nvPr>
        </p:nvSpPr>
        <p:spPr>
          <a:xfrm>
            <a:off x="518318" y="4006299"/>
            <a:ext cx="5433219" cy="2086517"/>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cxnSp>
        <p:nvCxnSpPr>
          <p:cNvPr id="15" name="Gerade Verbindung 71">
            <a:extLst>
              <a:ext uri="{FF2B5EF4-FFF2-40B4-BE49-F238E27FC236}">
                <a16:creationId xmlns:a16="http://schemas.microsoft.com/office/drawing/2014/main" id="{7F304551-C66B-4CDC-802C-E89380C7CAF2}"/>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8" name="Foliennummernplatzhalter 7">
            <a:extLst>
              <a:ext uri="{FF2B5EF4-FFF2-40B4-BE49-F238E27FC236}">
                <a16:creationId xmlns:a16="http://schemas.microsoft.com/office/drawing/2014/main" id="{9F0C0F5E-7238-4B4A-AC7B-126DDC533F68}"/>
              </a:ext>
            </a:extLst>
          </p:cNvPr>
          <p:cNvSpPr>
            <a:spLocks noGrp="1"/>
          </p:cNvSpPr>
          <p:nvPr>
            <p:ph type="sldNum" sz="quarter" idx="76"/>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9661532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 Extern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92DD91-EAE8-4850-A1F1-29F8A7A57DEA}"/>
              </a:ext>
            </a:extLst>
          </p:cNvPr>
          <p:cNvSpPr>
            <a:spLocks noGrp="1"/>
          </p:cNvSpPr>
          <p:nvPr>
            <p:ph type="title"/>
          </p:nvPr>
        </p:nvSpPr>
        <p:spPr>
          <a:xfrm>
            <a:off x="518319" y="2213089"/>
            <a:ext cx="11157744" cy="738664"/>
          </a:xfrm>
        </p:spPr>
        <p:txBody>
          <a:bodyPr anchor="b" anchorCtr="0"/>
          <a:lstStyle>
            <a:lvl1pPr>
              <a:defRPr sz="4800"/>
            </a:lvl1pPr>
          </a:lstStyle>
          <a:p>
            <a:r>
              <a:rPr lang="de-DE"/>
              <a:t>Mastertitelformat bearbeiten</a:t>
            </a:r>
          </a:p>
        </p:txBody>
      </p:sp>
      <p:sp>
        <p:nvSpPr>
          <p:cNvPr id="26" name="Textplatzhalter 8">
            <a:extLst>
              <a:ext uri="{FF2B5EF4-FFF2-40B4-BE49-F238E27FC236}">
                <a16:creationId xmlns:a16="http://schemas.microsoft.com/office/drawing/2014/main" id="{F52AEE9E-B08F-4C0A-BEEE-04C7FFB48E71}"/>
              </a:ext>
            </a:extLst>
          </p:cNvPr>
          <p:cNvSpPr>
            <a:spLocks noGrp="1"/>
          </p:cNvSpPr>
          <p:nvPr>
            <p:ph type="body" sz="quarter" idx="20"/>
          </p:nvPr>
        </p:nvSpPr>
        <p:spPr>
          <a:xfrm>
            <a:off x="518319" y="2872085"/>
            <a:ext cx="11157744" cy="738664"/>
          </a:xfrm>
        </p:spPr>
        <p:txBody>
          <a:bodyPr wrap="square">
            <a:noAutofit/>
          </a:bodyPr>
          <a:lstStyle>
            <a:lvl1pPr>
              <a:lnSpc>
                <a:spcPct val="100000"/>
              </a:lnSpc>
              <a:spcAft>
                <a:spcPts val="0"/>
              </a:spcAft>
              <a:defRPr sz="4800">
                <a:latin typeface="ZEISS Frutiger Next W1G"/>
                <a:cs typeface="Arial" panose="020B0604020202020204" pitchFamily="34" charset="0"/>
              </a:defRPr>
            </a:lvl1pPr>
          </a:lstStyle>
          <a:p>
            <a:pPr lvl="0"/>
            <a:r>
              <a:rPr lang="de-DE"/>
              <a:t>Mastertextformat bearbeiten</a:t>
            </a:r>
          </a:p>
        </p:txBody>
      </p:sp>
      <p:sp>
        <p:nvSpPr>
          <p:cNvPr id="51" name="Textplatzhalter 14">
            <a:extLst>
              <a:ext uri="{FF2B5EF4-FFF2-40B4-BE49-F238E27FC236}">
                <a16:creationId xmlns:a16="http://schemas.microsoft.com/office/drawing/2014/main" id="{501BEDEB-A8AE-4EFD-9CDF-207454EBAE70}"/>
              </a:ext>
            </a:extLst>
          </p:cNvPr>
          <p:cNvSpPr>
            <a:spLocks noGrp="1"/>
          </p:cNvSpPr>
          <p:nvPr>
            <p:ph type="body" sz="quarter" idx="13" hasCustomPrompt="1"/>
          </p:nvPr>
        </p:nvSpPr>
        <p:spPr>
          <a:xfrm>
            <a:off x="518319" y="4963183"/>
            <a:ext cx="4319999" cy="184666"/>
          </a:xfrm>
        </p:spPr>
        <p:txBody>
          <a:bodyPr>
            <a:spAutoFit/>
          </a:bodyPr>
          <a:lstStyle>
            <a:lvl1pPr>
              <a:defRPr sz="1200" b="1">
                <a:solidFill>
                  <a:schemeClr val="tx1"/>
                </a:solidFill>
                <a:latin typeface="ZEISS Frutiger Next W1G"/>
                <a:cs typeface="Arial" panose="020B0604020202020204" pitchFamily="34" charset="0"/>
              </a:defRPr>
            </a:lvl1pPr>
          </a:lstStyle>
          <a:p>
            <a:pPr lvl="0"/>
            <a:r>
              <a:rPr lang="de-DE"/>
              <a:t>Ersteller</a:t>
            </a:r>
          </a:p>
        </p:txBody>
      </p:sp>
      <p:sp>
        <p:nvSpPr>
          <p:cNvPr id="52" name="Textplatzhalter 14">
            <a:extLst>
              <a:ext uri="{FF2B5EF4-FFF2-40B4-BE49-F238E27FC236}">
                <a16:creationId xmlns:a16="http://schemas.microsoft.com/office/drawing/2014/main" id="{D7F978A2-D352-4AAC-BEB1-0402A13EE71A}"/>
              </a:ext>
            </a:extLst>
          </p:cNvPr>
          <p:cNvSpPr>
            <a:spLocks noGrp="1"/>
          </p:cNvSpPr>
          <p:nvPr>
            <p:ph type="body" sz="quarter" idx="14" hasCustomPrompt="1"/>
          </p:nvPr>
        </p:nvSpPr>
        <p:spPr>
          <a:xfrm>
            <a:off x="518319" y="5139395"/>
            <a:ext cx="4319999" cy="184666"/>
          </a:xfrm>
        </p:spPr>
        <p:txBody>
          <a:bodyPr>
            <a:spAutoFit/>
          </a:bodyPr>
          <a:lstStyle>
            <a:lvl1pPr>
              <a:defRPr sz="1200" b="0">
                <a:solidFill>
                  <a:schemeClr val="tx1"/>
                </a:solidFill>
                <a:latin typeface="ZEISS Frutiger Next W1G"/>
                <a:cs typeface="Arial" panose="020B0604020202020204" pitchFamily="34" charset="0"/>
              </a:defRPr>
            </a:lvl1pPr>
          </a:lstStyle>
          <a:p>
            <a:pPr lvl="0"/>
            <a:r>
              <a:rPr lang="de-DE"/>
              <a:t>Abteilung</a:t>
            </a:r>
          </a:p>
        </p:txBody>
      </p:sp>
      <p:cxnSp>
        <p:nvCxnSpPr>
          <p:cNvPr id="53" name="Gerade Verbindung 22">
            <a:extLst>
              <a:ext uri="{FF2B5EF4-FFF2-40B4-BE49-F238E27FC236}">
                <a16:creationId xmlns:a16="http://schemas.microsoft.com/office/drawing/2014/main" id="{9D058BB7-35BD-4743-A2CE-335778ABA86A}"/>
              </a:ext>
            </a:extLst>
          </p:cNvPr>
          <p:cNvCxnSpPr>
            <a:cxnSpLocks/>
          </p:cNvCxnSpPr>
          <p:nvPr/>
        </p:nvCxnSpPr>
        <p:spPr>
          <a:xfrm>
            <a:off x="518319" y="4887206"/>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54" name="Gerade Verbindung 22">
            <a:extLst>
              <a:ext uri="{FF2B5EF4-FFF2-40B4-BE49-F238E27FC236}">
                <a16:creationId xmlns:a16="http://schemas.microsoft.com/office/drawing/2014/main" id="{B1AAF8F8-2819-4C84-B15F-6801F5454C9E}"/>
              </a:ext>
            </a:extLst>
          </p:cNvPr>
          <p:cNvCxnSpPr>
            <a:cxnSpLocks/>
          </p:cNvCxnSpPr>
          <p:nvPr/>
        </p:nvCxnSpPr>
        <p:spPr>
          <a:xfrm>
            <a:off x="518319" y="5575864"/>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55" name="Gerade Verbindung 22">
            <a:extLst>
              <a:ext uri="{FF2B5EF4-FFF2-40B4-BE49-F238E27FC236}">
                <a16:creationId xmlns:a16="http://schemas.microsoft.com/office/drawing/2014/main" id="{9BD901D7-DE81-4C82-B0AD-09E48E69503F}"/>
              </a:ext>
            </a:extLst>
          </p:cNvPr>
          <p:cNvCxnSpPr>
            <a:cxnSpLocks/>
          </p:cNvCxnSpPr>
          <p:nvPr/>
        </p:nvCxnSpPr>
        <p:spPr>
          <a:xfrm>
            <a:off x="518319" y="6093705"/>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128" name="Gerade Verbindung 22">
            <a:extLst>
              <a:ext uri="{FF2B5EF4-FFF2-40B4-BE49-F238E27FC236}">
                <a16:creationId xmlns:a16="http://schemas.microsoft.com/office/drawing/2014/main" id="{89ECB648-6558-4C1A-B652-7EF5CAECC96D}"/>
              </a:ext>
            </a:extLst>
          </p:cNvPr>
          <p:cNvCxnSpPr>
            <a:cxnSpLocks/>
          </p:cNvCxnSpPr>
          <p:nvPr userDrawn="1"/>
        </p:nvCxnSpPr>
        <p:spPr>
          <a:xfrm>
            <a:off x="518319" y="6093705"/>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sp>
        <p:nvSpPr>
          <p:cNvPr id="48" name="Datumsplatzhalter 1">
            <a:extLst>
              <a:ext uri="{FF2B5EF4-FFF2-40B4-BE49-F238E27FC236}">
                <a16:creationId xmlns:a16="http://schemas.microsoft.com/office/drawing/2014/main" id="{2A4B3BE6-913A-4465-BEEB-46F60DD5DA84}"/>
              </a:ext>
            </a:extLst>
          </p:cNvPr>
          <p:cNvSpPr>
            <a:spLocks noGrp="1"/>
          </p:cNvSpPr>
          <p:nvPr>
            <p:ph type="dt" sz="half" idx="16"/>
          </p:nvPr>
        </p:nvSpPr>
        <p:spPr>
          <a:xfrm>
            <a:off x="518319" y="5651841"/>
            <a:ext cx="1825821" cy="184666"/>
          </a:xfrm>
          <a:prstGeom prst="rect">
            <a:avLst/>
          </a:prstGeom>
        </p:spPr>
        <p:txBody>
          <a:bodyPr vert="horz" lIns="0" tIns="0" rIns="0" bIns="0" rtlCol="0" anchor="t" anchorCtr="0">
            <a:spAutoFit/>
          </a:bodyPr>
          <a:lstStyle>
            <a:lvl1pPr>
              <a:defRPr lang="de-DE" sz="1200" b="1" smtClean="0">
                <a:latin typeface="ZEISS Frutiger Next W1G"/>
                <a:cs typeface="Arial" panose="020B0604020202020204" pitchFamily="34" charset="0"/>
              </a:defRPr>
            </a:lvl1pPr>
          </a:lstStyle>
          <a:p>
            <a:pPr>
              <a:spcAft>
                <a:spcPts val="800"/>
              </a:spcAft>
              <a:buFont typeface="Arial" panose="020B0604020202020204" pitchFamily="34" charset="0"/>
              <a:buNone/>
            </a:pPr>
            <a:r>
              <a:rPr lang="en-US"/>
              <a:t>Tuesday, October 8, 2024</a:t>
            </a:r>
            <a:endParaRPr lang="de-DE"/>
          </a:p>
        </p:txBody>
      </p:sp>
      <p:grpSp>
        <p:nvGrpSpPr>
          <p:cNvPr id="46" name="Gruppieren 45">
            <a:extLst>
              <a:ext uri="{FF2B5EF4-FFF2-40B4-BE49-F238E27FC236}">
                <a16:creationId xmlns:a16="http://schemas.microsoft.com/office/drawing/2014/main" id="{B9B08A74-6918-4896-B3CC-5EC9B14AF7AF}"/>
              </a:ext>
            </a:extLst>
          </p:cNvPr>
          <p:cNvGrpSpPr/>
          <p:nvPr userDrawn="1"/>
        </p:nvGrpSpPr>
        <p:grpSpPr>
          <a:xfrm>
            <a:off x="299275" y="-697714"/>
            <a:ext cx="11375605" cy="411956"/>
            <a:chOff x="299275" y="6944502"/>
            <a:chExt cx="11375605" cy="411956"/>
          </a:xfrm>
        </p:grpSpPr>
        <p:grpSp>
          <p:nvGrpSpPr>
            <p:cNvPr id="47" name="Gruppieren 46">
              <a:extLst>
                <a:ext uri="{FF2B5EF4-FFF2-40B4-BE49-F238E27FC236}">
                  <a16:creationId xmlns:a16="http://schemas.microsoft.com/office/drawing/2014/main" id="{10CDC35F-3363-4C6A-800A-D19612163477}"/>
                </a:ext>
              </a:extLst>
            </p:cNvPr>
            <p:cNvGrpSpPr/>
            <p:nvPr/>
          </p:nvGrpSpPr>
          <p:grpSpPr>
            <a:xfrm rot="16200000">
              <a:off x="201628" y="7042149"/>
              <a:ext cx="411956" cy="216662"/>
              <a:chOff x="-615197" y="4295013"/>
              <a:chExt cx="411956" cy="216662"/>
            </a:xfrm>
          </p:grpSpPr>
          <p:cxnSp>
            <p:nvCxnSpPr>
              <p:cNvPr id="66" name="Gerader Verbinder 65">
                <a:extLst>
                  <a:ext uri="{FF2B5EF4-FFF2-40B4-BE49-F238E27FC236}">
                    <a16:creationId xmlns:a16="http://schemas.microsoft.com/office/drawing/2014/main" id="{C0943440-DDFE-469F-B9B5-0E58AD6A9243}"/>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83" name="Textfeld 82">
                <a:extLst>
                  <a:ext uri="{FF2B5EF4-FFF2-40B4-BE49-F238E27FC236}">
                    <a16:creationId xmlns:a16="http://schemas.microsoft.com/office/drawing/2014/main" id="{7185C30C-099F-4E61-ABB9-CDE19474EC5B}"/>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nvGrpSpPr>
            <p:cNvPr id="49" name="Gruppieren 48">
              <a:extLst>
                <a:ext uri="{FF2B5EF4-FFF2-40B4-BE49-F238E27FC236}">
                  <a16:creationId xmlns:a16="http://schemas.microsoft.com/office/drawing/2014/main" id="{2665B96F-96D0-4AFB-989F-365519FA8C38}"/>
                </a:ext>
              </a:extLst>
            </p:cNvPr>
            <p:cNvGrpSpPr/>
            <p:nvPr/>
          </p:nvGrpSpPr>
          <p:grpSpPr>
            <a:xfrm rot="16200000">
              <a:off x="5637228" y="7042149"/>
              <a:ext cx="411956" cy="216662"/>
              <a:chOff x="-615197" y="4295013"/>
              <a:chExt cx="411956" cy="216662"/>
            </a:xfrm>
          </p:grpSpPr>
          <p:cxnSp>
            <p:nvCxnSpPr>
              <p:cNvPr id="62" name="Gerader Verbinder 61">
                <a:extLst>
                  <a:ext uri="{FF2B5EF4-FFF2-40B4-BE49-F238E27FC236}">
                    <a16:creationId xmlns:a16="http://schemas.microsoft.com/office/drawing/2014/main" id="{A72BC813-A3E2-4DFF-A52D-0322177253CC}"/>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Textfeld 62">
                <a:extLst>
                  <a:ext uri="{FF2B5EF4-FFF2-40B4-BE49-F238E27FC236}">
                    <a16:creationId xmlns:a16="http://schemas.microsoft.com/office/drawing/2014/main" id="{EF28719C-6C46-425F-8047-859630BEDBCA}"/>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grpSp>
          <p:nvGrpSpPr>
            <p:cNvPr id="50" name="Gruppieren 49">
              <a:extLst>
                <a:ext uri="{FF2B5EF4-FFF2-40B4-BE49-F238E27FC236}">
                  <a16:creationId xmlns:a16="http://schemas.microsoft.com/office/drawing/2014/main" id="{34D83414-AF9D-4E67-869D-417D60D91887}"/>
                </a:ext>
              </a:extLst>
            </p:cNvPr>
            <p:cNvGrpSpPr/>
            <p:nvPr/>
          </p:nvGrpSpPr>
          <p:grpSpPr>
            <a:xfrm rot="5400000">
              <a:off x="6093326" y="7042149"/>
              <a:ext cx="411956" cy="216662"/>
              <a:chOff x="-615197" y="4346120"/>
              <a:chExt cx="411956" cy="216662"/>
            </a:xfrm>
          </p:grpSpPr>
          <p:cxnSp>
            <p:nvCxnSpPr>
              <p:cNvPr id="60" name="Gerader Verbinder 59">
                <a:extLst>
                  <a:ext uri="{FF2B5EF4-FFF2-40B4-BE49-F238E27FC236}">
                    <a16:creationId xmlns:a16="http://schemas.microsoft.com/office/drawing/2014/main" id="{2C52F9F0-652B-45E8-95BB-71427B24CACF}"/>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Textfeld 60">
                <a:extLst>
                  <a:ext uri="{FF2B5EF4-FFF2-40B4-BE49-F238E27FC236}">
                    <a16:creationId xmlns:a16="http://schemas.microsoft.com/office/drawing/2014/main" id="{95837572-3495-4B31-AED9-21AC0EEC9FED}"/>
                  </a:ext>
                </a:extLst>
              </p:cNvPr>
              <p:cNvSpPr txBox="1"/>
              <p:nvPr/>
            </p:nvSpPr>
            <p:spPr>
              <a:xfrm rot="10800000">
                <a:off x="-615197" y="4346120"/>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cxnSp>
          <p:nvCxnSpPr>
            <p:cNvPr id="56" name="Gerader Verbinder 55">
              <a:extLst>
                <a:ext uri="{FF2B5EF4-FFF2-40B4-BE49-F238E27FC236}">
                  <a16:creationId xmlns:a16="http://schemas.microsoft.com/office/drawing/2014/main" id="{CEBE2F24-DC34-4248-9FDD-4B998A1B05D4}"/>
                </a:ext>
              </a:extLst>
            </p:cNvPr>
            <p:cNvCxnSpPr>
              <a:cxnSpLocks/>
            </p:cNvCxnSpPr>
            <p:nvPr/>
          </p:nvCxnSpPr>
          <p:spPr>
            <a:xfrm rot="16200000">
              <a:off x="5890022" y="7150480"/>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7" name="Gruppieren 56">
              <a:extLst>
                <a:ext uri="{FF2B5EF4-FFF2-40B4-BE49-F238E27FC236}">
                  <a16:creationId xmlns:a16="http://schemas.microsoft.com/office/drawing/2014/main" id="{40A74123-125F-4A91-996F-8CA721E84DE2}"/>
                </a:ext>
              </a:extLst>
            </p:cNvPr>
            <p:cNvGrpSpPr/>
            <p:nvPr/>
          </p:nvGrpSpPr>
          <p:grpSpPr>
            <a:xfrm rot="16200000">
              <a:off x="11360571" y="7042149"/>
              <a:ext cx="411956" cy="216662"/>
              <a:chOff x="-615197" y="4295013"/>
              <a:chExt cx="411956" cy="216662"/>
            </a:xfrm>
          </p:grpSpPr>
          <p:cxnSp>
            <p:nvCxnSpPr>
              <p:cNvPr id="58" name="Gerader Verbinder 57">
                <a:extLst>
                  <a:ext uri="{FF2B5EF4-FFF2-40B4-BE49-F238E27FC236}">
                    <a16:creationId xmlns:a16="http://schemas.microsoft.com/office/drawing/2014/main" id="{5D3FB217-A7F1-4465-9D59-77BCEB055C97}"/>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9" name="Textfeld 58">
                <a:extLst>
                  <a:ext uri="{FF2B5EF4-FFF2-40B4-BE49-F238E27FC236}">
                    <a16:creationId xmlns:a16="http://schemas.microsoft.com/office/drawing/2014/main" id="{4935C03B-E9A2-4DE0-931D-CD9D14E48AE7}"/>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grpSp>
        <p:nvGrpSpPr>
          <p:cNvPr id="100" name="Gruppieren 99">
            <a:extLst>
              <a:ext uri="{FF2B5EF4-FFF2-40B4-BE49-F238E27FC236}">
                <a16:creationId xmlns:a16="http://schemas.microsoft.com/office/drawing/2014/main" id="{351DE1A0-FBFF-46D0-8348-2048EF4045D8}"/>
              </a:ext>
            </a:extLst>
          </p:cNvPr>
          <p:cNvGrpSpPr/>
          <p:nvPr userDrawn="1"/>
        </p:nvGrpSpPr>
        <p:grpSpPr>
          <a:xfrm>
            <a:off x="-697714" y="80201"/>
            <a:ext cx="411956" cy="6729801"/>
            <a:chOff x="-502267" y="80201"/>
            <a:chExt cx="411956" cy="6729801"/>
          </a:xfrm>
        </p:grpSpPr>
        <p:grpSp>
          <p:nvGrpSpPr>
            <p:cNvPr id="101" name="Gruppieren 100">
              <a:extLst>
                <a:ext uri="{FF2B5EF4-FFF2-40B4-BE49-F238E27FC236}">
                  <a16:creationId xmlns:a16="http://schemas.microsoft.com/office/drawing/2014/main" id="{02FD3DF8-3D25-40DA-B56C-2DBFAE084507}"/>
                </a:ext>
              </a:extLst>
            </p:cNvPr>
            <p:cNvGrpSpPr/>
            <p:nvPr/>
          </p:nvGrpSpPr>
          <p:grpSpPr>
            <a:xfrm>
              <a:off x="-502267" y="6593340"/>
              <a:ext cx="411956" cy="216662"/>
              <a:chOff x="-615197" y="4452994"/>
              <a:chExt cx="411956" cy="216662"/>
            </a:xfrm>
          </p:grpSpPr>
          <p:sp>
            <p:nvSpPr>
              <p:cNvPr id="117" name="Textfeld 116">
                <a:extLst>
                  <a:ext uri="{FF2B5EF4-FFF2-40B4-BE49-F238E27FC236}">
                    <a16:creationId xmlns:a16="http://schemas.microsoft.com/office/drawing/2014/main" id="{0F0F86A8-95B3-4BD2-B06D-9BCD7756ABF4}"/>
                  </a:ext>
                </a:extLst>
              </p:cNvPr>
              <p:cNvSpPr txBox="1"/>
              <p:nvPr/>
            </p:nvSpPr>
            <p:spPr>
              <a:xfrm>
                <a:off x="-615197" y="4452994"/>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92</a:t>
                </a:r>
              </a:p>
            </p:txBody>
          </p:sp>
          <p:cxnSp>
            <p:nvCxnSpPr>
              <p:cNvPr id="118" name="Gerader Verbinder 117">
                <a:extLst>
                  <a:ext uri="{FF2B5EF4-FFF2-40B4-BE49-F238E27FC236}">
                    <a16:creationId xmlns:a16="http://schemas.microsoft.com/office/drawing/2014/main" id="{8E38CADC-1D31-4B5D-98B0-9CABB15624CD}"/>
                  </a:ext>
                </a:extLst>
              </p:cNvPr>
              <p:cNvCxnSpPr>
                <a:cxnSpLocks/>
              </p:cNvCxnSpPr>
              <p:nvPr/>
            </p:nvCxnSpPr>
            <p:spPr>
              <a:xfrm>
                <a:off x="-615197" y="4497389"/>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02" name="Gruppieren 101">
              <a:extLst>
                <a:ext uri="{FF2B5EF4-FFF2-40B4-BE49-F238E27FC236}">
                  <a16:creationId xmlns:a16="http://schemas.microsoft.com/office/drawing/2014/main" id="{BA01828F-49E3-4DD1-8A18-488DC0EC04E9}"/>
                </a:ext>
              </a:extLst>
            </p:cNvPr>
            <p:cNvGrpSpPr/>
            <p:nvPr/>
          </p:nvGrpSpPr>
          <p:grpSpPr>
            <a:xfrm>
              <a:off x="-502267" y="5876163"/>
              <a:ext cx="411956" cy="216662"/>
              <a:chOff x="-615197" y="4295013"/>
              <a:chExt cx="411956" cy="216662"/>
            </a:xfrm>
          </p:grpSpPr>
          <p:cxnSp>
            <p:nvCxnSpPr>
              <p:cNvPr id="115" name="Gerader Verbinder 114">
                <a:extLst>
                  <a:ext uri="{FF2B5EF4-FFF2-40B4-BE49-F238E27FC236}">
                    <a16:creationId xmlns:a16="http://schemas.microsoft.com/office/drawing/2014/main" id="{7F807E15-F6EF-4990-B8E4-5280D91908A8}"/>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6" name="Textfeld 115">
                <a:extLst>
                  <a:ext uri="{FF2B5EF4-FFF2-40B4-BE49-F238E27FC236}">
                    <a16:creationId xmlns:a16="http://schemas.microsoft.com/office/drawing/2014/main" id="{DDBAFB5F-C33D-4EFE-844A-DF67DBF78A9C}"/>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7,40</a:t>
                </a:r>
              </a:p>
            </p:txBody>
          </p:sp>
        </p:grpSp>
        <p:grpSp>
          <p:nvGrpSpPr>
            <p:cNvPr id="103" name="Gruppieren 102">
              <a:extLst>
                <a:ext uri="{FF2B5EF4-FFF2-40B4-BE49-F238E27FC236}">
                  <a16:creationId xmlns:a16="http://schemas.microsoft.com/office/drawing/2014/main" id="{C12AE862-D696-42EE-909F-D64C492CBCCA}"/>
                </a:ext>
              </a:extLst>
            </p:cNvPr>
            <p:cNvGrpSpPr/>
            <p:nvPr/>
          </p:nvGrpSpPr>
          <p:grpSpPr>
            <a:xfrm>
              <a:off x="-502267" y="3212338"/>
              <a:ext cx="411956" cy="216662"/>
              <a:chOff x="-615197" y="4295013"/>
              <a:chExt cx="411956" cy="216662"/>
            </a:xfrm>
          </p:grpSpPr>
          <p:cxnSp>
            <p:nvCxnSpPr>
              <p:cNvPr id="113" name="Gerader Verbinder 112">
                <a:extLst>
                  <a:ext uri="{FF2B5EF4-FFF2-40B4-BE49-F238E27FC236}">
                    <a16:creationId xmlns:a16="http://schemas.microsoft.com/office/drawing/2014/main" id="{E0FEF2C4-C2F3-4A23-8C07-B061DD001200}"/>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4" name="Textfeld 113">
                <a:extLst>
                  <a:ext uri="{FF2B5EF4-FFF2-40B4-BE49-F238E27FC236}">
                    <a16:creationId xmlns:a16="http://schemas.microsoft.com/office/drawing/2014/main" id="{5D8511BC-B7F5-4BC6-A815-5C125B4F276D}"/>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00</a:t>
                </a:r>
              </a:p>
            </p:txBody>
          </p:sp>
        </p:grpSp>
        <p:grpSp>
          <p:nvGrpSpPr>
            <p:cNvPr id="104" name="Gruppieren 103">
              <a:extLst>
                <a:ext uri="{FF2B5EF4-FFF2-40B4-BE49-F238E27FC236}">
                  <a16:creationId xmlns:a16="http://schemas.microsoft.com/office/drawing/2014/main" id="{DA380AA3-7C1A-45EC-8A6C-CBD47FB056A1}"/>
                </a:ext>
              </a:extLst>
            </p:cNvPr>
            <p:cNvGrpSpPr/>
            <p:nvPr/>
          </p:nvGrpSpPr>
          <p:grpSpPr>
            <a:xfrm>
              <a:off x="-502267" y="835851"/>
              <a:ext cx="411956" cy="216662"/>
              <a:chOff x="-615197" y="4295013"/>
              <a:chExt cx="411956" cy="216662"/>
            </a:xfrm>
          </p:grpSpPr>
          <p:cxnSp>
            <p:nvCxnSpPr>
              <p:cNvPr id="111" name="Gerader Verbinder 110">
                <a:extLst>
                  <a:ext uri="{FF2B5EF4-FFF2-40B4-BE49-F238E27FC236}">
                    <a16:creationId xmlns:a16="http://schemas.microsoft.com/office/drawing/2014/main" id="{8C5A3431-647C-47F6-BCEE-D6F56C64EE7C}"/>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2" name="Textfeld 111">
                <a:extLst>
                  <a:ext uri="{FF2B5EF4-FFF2-40B4-BE49-F238E27FC236}">
                    <a16:creationId xmlns:a16="http://schemas.microsoft.com/office/drawing/2014/main" id="{B736E92D-E681-43BE-A592-348085922C94}"/>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6,60</a:t>
                </a:r>
              </a:p>
            </p:txBody>
          </p:sp>
        </p:grpSp>
        <p:grpSp>
          <p:nvGrpSpPr>
            <p:cNvPr id="105" name="Gruppieren 104">
              <a:extLst>
                <a:ext uri="{FF2B5EF4-FFF2-40B4-BE49-F238E27FC236}">
                  <a16:creationId xmlns:a16="http://schemas.microsoft.com/office/drawing/2014/main" id="{C638EB2F-3EE6-4C30-8EA4-8D94CA2AAB13}"/>
                </a:ext>
              </a:extLst>
            </p:cNvPr>
            <p:cNvGrpSpPr/>
            <p:nvPr/>
          </p:nvGrpSpPr>
          <p:grpSpPr>
            <a:xfrm>
              <a:off x="-502267" y="1412113"/>
              <a:ext cx="411956" cy="216662"/>
              <a:chOff x="-615197" y="4295013"/>
              <a:chExt cx="411956" cy="216662"/>
            </a:xfrm>
          </p:grpSpPr>
          <p:cxnSp>
            <p:nvCxnSpPr>
              <p:cNvPr id="109" name="Gerader Verbinder 108">
                <a:extLst>
                  <a:ext uri="{FF2B5EF4-FFF2-40B4-BE49-F238E27FC236}">
                    <a16:creationId xmlns:a16="http://schemas.microsoft.com/office/drawing/2014/main" id="{83505431-2E6D-4471-A2FB-429BF6CAF35C}"/>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0" name="Textfeld 109">
                <a:extLst>
                  <a:ext uri="{FF2B5EF4-FFF2-40B4-BE49-F238E27FC236}">
                    <a16:creationId xmlns:a16="http://schemas.microsoft.com/office/drawing/2014/main" id="{73E21654-6ACF-49D3-9B56-11E08AB624A2}"/>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5,00</a:t>
                </a:r>
              </a:p>
            </p:txBody>
          </p:sp>
        </p:grpSp>
        <p:grpSp>
          <p:nvGrpSpPr>
            <p:cNvPr id="106" name="Gruppieren 105">
              <a:extLst>
                <a:ext uri="{FF2B5EF4-FFF2-40B4-BE49-F238E27FC236}">
                  <a16:creationId xmlns:a16="http://schemas.microsoft.com/office/drawing/2014/main" id="{C6A401CF-3A9B-4C6E-A900-71B9790430DC}"/>
                </a:ext>
              </a:extLst>
            </p:cNvPr>
            <p:cNvGrpSpPr/>
            <p:nvPr/>
          </p:nvGrpSpPr>
          <p:grpSpPr>
            <a:xfrm>
              <a:off x="-502267" y="80201"/>
              <a:ext cx="411956" cy="216662"/>
              <a:chOff x="-615197" y="4258501"/>
              <a:chExt cx="411956" cy="216662"/>
            </a:xfrm>
          </p:grpSpPr>
          <p:cxnSp>
            <p:nvCxnSpPr>
              <p:cNvPr id="107" name="Gerader Verbinder 106">
                <a:extLst>
                  <a:ext uri="{FF2B5EF4-FFF2-40B4-BE49-F238E27FC236}">
                    <a16:creationId xmlns:a16="http://schemas.microsoft.com/office/drawing/2014/main" id="{3A04E890-52B7-4B48-89D4-BB93B4B54B57}"/>
                  </a:ext>
                </a:extLst>
              </p:cNvPr>
              <p:cNvCxnSpPr>
                <a:cxnSpLocks/>
              </p:cNvCxnSpPr>
              <p:nvPr/>
            </p:nvCxnSpPr>
            <p:spPr>
              <a:xfrm>
                <a:off x="-615197" y="4475163"/>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8" name="Textfeld 107">
                <a:extLst>
                  <a:ext uri="{FF2B5EF4-FFF2-40B4-BE49-F238E27FC236}">
                    <a16:creationId xmlns:a16="http://schemas.microsoft.com/office/drawing/2014/main" id="{CD3C7EB7-2F3F-42D0-A4E9-D77AA3C72338}"/>
                  </a:ext>
                </a:extLst>
              </p:cNvPr>
              <p:cNvSpPr txBox="1"/>
              <p:nvPr/>
            </p:nvSpPr>
            <p:spPr>
              <a:xfrm>
                <a:off x="-615197" y="4258501"/>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70</a:t>
                </a:r>
              </a:p>
            </p:txBody>
          </p:sp>
        </p:grpSp>
      </p:grpSp>
      <p:pic>
        <p:nvPicPr>
          <p:cNvPr id="3" name="Grafik 2">
            <a:extLst>
              <a:ext uri="{FF2B5EF4-FFF2-40B4-BE49-F238E27FC236}">
                <a16:creationId xmlns:a16="http://schemas.microsoft.com/office/drawing/2014/main" id="{CBA4CF82-D6CA-42BD-C109-236CBF0A32B8}"/>
              </a:ext>
            </a:extLst>
          </p:cNvPr>
          <p:cNvPicPr>
            <a:picLocks noChangeAspect="1"/>
          </p:cNvPicPr>
          <p:nvPr userDrawn="1"/>
        </p:nvPicPr>
        <p:blipFill>
          <a:blip r:embed="rId2">
            <a:extLst>
              <a:ext uri="{28A0092B-C50C-407E-A947-70E740481C1C}">
                <a14:useLocalDpi xmlns:a14="http://schemas.microsoft.com/office/drawing/2010/main" val="0"/>
              </a:ext>
            </a:extLst>
          </a:blip>
          <a:srcRect l="11980" t="27160" r="12453" b="26378"/>
          <a:stretch/>
        </p:blipFill>
        <p:spPr>
          <a:xfrm>
            <a:off x="9262569" y="261978"/>
            <a:ext cx="2681864" cy="661126"/>
          </a:xfrm>
          <a:prstGeom prst="rect">
            <a:avLst/>
          </a:prstGeom>
        </p:spPr>
      </p:pic>
    </p:spTree>
    <p:extLst>
      <p:ext uri="{BB962C8B-B14F-4D97-AF65-F5344CB8AC3E}">
        <p14:creationId xmlns:p14="http://schemas.microsoft.com/office/powerpoint/2010/main" val="25520643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Bild- Textfolie | 2x Bild, 2x Text - nebeneinan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A276B4CC-8E3B-49AA-A6D3-2C309ED8CFEE}"/>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22" name="Textplatzhalter 3">
            <a:extLst>
              <a:ext uri="{FF2B5EF4-FFF2-40B4-BE49-F238E27FC236}">
                <a16:creationId xmlns:a16="http://schemas.microsoft.com/office/drawing/2014/main" id="{8E5BB036-1A1C-4EB9-AF21-69D3C12FF402}"/>
              </a:ext>
            </a:extLst>
          </p:cNvPr>
          <p:cNvSpPr>
            <a:spLocks noGrp="1"/>
          </p:cNvSpPr>
          <p:nvPr>
            <p:ph type="body" sz="quarter" idx="71"/>
          </p:nvPr>
        </p:nvSpPr>
        <p:spPr>
          <a:xfrm>
            <a:off x="6242844" y="4006299"/>
            <a:ext cx="5433219" cy="2086521"/>
          </a:xfrm>
        </p:spPr>
        <p:txBody>
          <a:bodyPr/>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773FBE26-823C-44A4-9918-6F7FC142C360}"/>
              </a:ext>
            </a:extLst>
          </p:cNvPr>
          <p:cNvSpPr>
            <a:spLocks noGrp="1"/>
          </p:cNvSpPr>
          <p:nvPr>
            <p:ph type="pic" sz="quarter" idx="72" hasCustomPrompt="1"/>
          </p:nvPr>
        </p:nvSpPr>
        <p:spPr>
          <a:xfrm>
            <a:off x="518318" y="1631837"/>
            <a:ext cx="5433219" cy="2086517"/>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15" name="Bildplatzhalter 4">
            <a:extLst>
              <a:ext uri="{FF2B5EF4-FFF2-40B4-BE49-F238E27FC236}">
                <a16:creationId xmlns:a16="http://schemas.microsoft.com/office/drawing/2014/main" id="{870DAB1F-D24A-4A98-83A6-AFA36A6FC73E}"/>
              </a:ext>
            </a:extLst>
          </p:cNvPr>
          <p:cNvSpPr>
            <a:spLocks noGrp="1"/>
          </p:cNvSpPr>
          <p:nvPr>
            <p:ph type="pic" sz="quarter" idx="73" hasCustomPrompt="1"/>
          </p:nvPr>
        </p:nvSpPr>
        <p:spPr>
          <a:xfrm>
            <a:off x="6242844" y="1631837"/>
            <a:ext cx="5433219" cy="2086517"/>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16" name="Textplatzhalter 3">
            <a:extLst>
              <a:ext uri="{FF2B5EF4-FFF2-40B4-BE49-F238E27FC236}">
                <a16:creationId xmlns:a16="http://schemas.microsoft.com/office/drawing/2014/main" id="{A7040DB9-A329-4F37-A50E-67E566A8CCC6}"/>
              </a:ext>
            </a:extLst>
          </p:cNvPr>
          <p:cNvSpPr>
            <a:spLocks noGrp="1"/>
          </p:cNvSpPr>
          <p:nvPr>
            <p:ph type="body" sz="quarter" idx="74"/>
          </p:nvPr>
        </p:nvSpPr>
        <p:spPr>
          <a:xfrm>
            <a:off x="518318" y="4006299"/>
            <a:ext cx="5433219" cy="2086521"/>
          </a:xfrm>
        </p:spPr>
        <p:txBody>
          <a:bodyPr/>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4" name="Gerade Verbindung 71">
            <a:extLst>
              <a:ext uri="{FF2B5EF4-FFF2-40B4-BE49-F238E27FC236}">
                <a16:creationId xmlns:a16="http://schemas.microsoft.com/office/drawing/2014/main" id="{C6865517-E7AB-479B-B301-361C9726E50F}"/>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8" name="Foliennummernplatzhalter 7">
            <a:extLst>
              <a:ext uri="{FF2B5EF4-FFF2-40B4-BE49-F238E27FC236}">
                <a16:creationId xmlns:a16="http://schemas.microsoft.com/office/drawing/2014/main" id="{D1524C14-E513-43FD-AAD7-E2FF2C1AC8FE}"/>
              </a:ext>
            </a:extLst>
          </p:cNvPr>
          <p:cNvSpPr>
            <a:spLocks noGrp="1"/>
          </p:cNvSpPr>
          <p:nvPr>
            <p:ph type="sldNum" sz="quarter" idx="77"/>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4566376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Nur Titel | Freie Gestalt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9" name="Textplatzhalter 8">
            <a:extLst>
              <a:ext uri="{FF2B5EF4-FFF2-40B4-BE49-F238E27FC236}">
                <a16:creationId xmlns:a16="http://schemas.microsoft.com/office/drawing/2014/main" id="{35D2E05C-DF1C-4C7B-B878-BC14435387A5}"/>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cxnSp>
        <p:nvCxnSpPr>
          <p:cNvPr id="10" name="Gerade Verbindung 71">
            <a:extLst>
              <a:ext uri="{FF2B5EF4-FFF2-40B4-BE49-F238E27FC236}">
                <a16:creationId xmlns:a16="http://schemas.microsoft.com/office/drawing/2014/main" id="{7DF7DF9F-1FE6-4E11-A1E5-13620458417C}"/>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5" name="Foliennummernplatzhalter 4">
            <a:extLst>
              <a:ext uri="{FF2B5EF4-FFF2-40B4-BE49-F238E27FC236}">
                <a16:creationId xmlns:a16="http://schemas.microsoft.com/office/drawing/2014/main" id="{C70D9C1F-041C-4A29-8F89-6A9A0C45C77E}"/>
              </a:ext>
            </a:extLst>
          </p:cNvPr>
          <p:cNvSpPr>
            <a:spLocks noGrp="1"/>
          </p:cNvSpPr>
          <p:nvPr>
            <p:ph type="sldNum" sz="quarter" idx="62"/>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4895943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chlussfolie">
    <p:spTree>
      <p:nvGrpSpPr>
        <p:cNvPr id="1" name=""/>
        <p:cNvGrpSpPr/>
        <p:nvPr/>
      </p:nvGrpSpPr>
      <p:grpSpPr>
        <a:xfrm>
          <a:off x="0" y="0"/>
          <a:ext cx="0" cy="0"/>
          <a:chOff x="0" y="0"/>
          <a:chExt cx="0" cy="0"/>
        </a:xfrm>
      </p:grpSpPr>
      <p:grpSp>
        <p:nvGrpSpPr>
          <p:cNvPr id="37" name="Gruppieren 36">
            <a:extLst>
              <a:ext uri="{FF2B5EF4-FFF2-40B4-BE49-F238E27FC236}">
                <a16:creationId xmlns:a16="http://schemas.microsoft.com/office/drawing/2014/main" id="{B3215F83-2EC1-4CAC-953F-78BF5F10A0D6}"/>
              </a:ext>
            </a:extLst>
          </p:cNvPr>
          <p:cNvGrpSpPr/>
          <p:nvPr userDrawn="1"/>
        </p:nvGrpSpPr>
        <p:grpSpPr>
          <a:xfrm>
            <a:off x="299275" y="-697714"/>
            <a:ext cx="11375605" cy="411956"/>
            <a:chOff x="299275" y="6944502"/>
            <a:chExt cx="11375605" cy="411956"/>
          </a:xfrm>
        </p:grpSpPr>
        <p:grpSp>
          <p:nvGrpSpPr>
            <p:cNvPr id="38" name="Gruppieren 37">
              <a:extLst>
                <a:ext uri="{FF2B5EF4-FFF2-40B4-BE49-F238E27FC236}">
                  <a16:creationId xmlns:a16="http://schemas.microsoft.com/office/drawing/2014/main" id="{EC69B38E-3636-4F61-BC0D-11B8EC2035C3}"/>
                </a:ext>
              </a:extLst>
            </p:cNvPr>
            <p:cNvGrpSpPr/>
            <p:nvPr/>
          </p:nvGrpSpPr>
          <p:grpSpPr>
            <a:xfrm rot="16200000">
              <a:off x="201628" y="7042149"/>
              <a:ext cx="411956" cy="216662"/>
              <a:chOff x="-615197" y="4295013"/>
              <a:chExt cx="411956" cy="216662"/>
            </a:xfrm>
          </p:grpSpPr>
          <p:cxnSp>
            <p:nvCxnSpPr>
              <p:cNvPr id="49" name="Gerader Verbinder 48">
                <a:extLst>
                  <a:ext uri="{FF2B5EF4-FFF2-40B4-BE49-F238E27FC236}">
                    <a16:creationId xmlns:a16="http://schemas.microsoft.com/office/drawing/2014/main" id="{7FA8B8E5-9220-4F6C-86EE-E001B5D669C1}"/>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feld 49">
                <a:extLst>
                  <a:ext uri="{FF2B5EF4-FFF2-40B4-BE49-F238E27FC236}">
                    <a16:creationId xmlns:a16="http://schemas.microsoft.com/office/drawing/2014/main" id="{1BC8D282-94B0-4E74-9FCB-AC7D976B4F4D}"/>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nvGrpSpPr>
            <p:cNvPr id="39" name="Gruppieren 38">
              <a:extLst>
                <a:ext uri="{FF2B5EF4-FFF2-40B4-BE49-F238E27FC236}">
                  <a16:creationId xmlns:a16="http://schemas.microsoft.com/office/drawing/2014/main" id="{64951DA6-F963-4A0C-96A1-7528EEA0610B}"/>
                </a:ext>
              </a:extLst>
            </p:cNvPr>
            <p:cNvGrpSpPr/>
            <p:nvPr/>
          </p:nvGrpSpPr>
          <p:grpSpPr>
            <a:xfrm rot="16200000">
              <a:off x="5637228" y="7042149"/>
              <a:ext cx="411956" cy="216662"/>
              <a:chOff x="-615197" y="4295013"/>
              <a:chExt cx="411956" cy="216662"/>
            </a:xfrm>
          </p:grpSpPr>
          <p:cxnSp>
            <p:nvCxnSpPr>
              <p:cNvPr id="47" name="Gerader Verbinder 46">
                <a:extLst>
                  <a:ext uri="{FF2B5EF4-FFF2-40B4-BE49-F238E27FC236}">
                    <a16:creationId xmlns:a16="http://schemas.microsoft.com/office/drawing/2014/main" id="{B609D040-0754-4342-B1E2-54FC0A4E1BBA}"/>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Textfeld 47">
                <a:extLst>
                  <a:ext uri="{FF2B5EF4-FFF2-40B4-BE49-F238E27FC236}">
                    <a16:creationId xmlns:a16="http://schemas.microsoft.com/office/drawing/2014/main" id="{D431B656-0234-4F51-AC65-009A508354BE}"/>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grpSp>
          <p:nvGrpSpPr>
            <p:cNvPr id="40" name="Gruppieren 39">
              <a:extLst>
                <a:ext uri="{FF2B5EF4-FFF2-40B4-BE49-F238E27FC236}">
                  <a16:creationId xmlns:a16="http://schemas.microsoft.com/office/drawing/2014/main" id="{EBE74C80-4D3E-4301-A865-31956C228E22}"/>
                </a:ext>
              </a:extLst>
            </p:cNvPr>
            <p:cNvGrpSpPr/>
            <p:nvPr/>
          </p:nvGrpSpPr>
          <p:grpSpPr>
            <a:xfrm rot="5400000">
              <a:off x="6093326" y="7042149"/>
              <a:ext cx="411956" cy="216662"/>
              <a:chOff x="-615197" y="4346120"/>
              <a:chExt cx="411956" cy="216662"/>
            </a:xfrm>
          </p:grpSpPr>
          <p:cxnSp>
            <p:nvCxnSpPr>
              <p:cNvPr id="45" name="Gerader Verbinder 44">
                <a:extLst>
                  <a:ext uri="{FF2B5EF4-FFF2-40B4-BE49-F238E27FC236}">
                    <a16:creationId xmlns:a16="http://schemas.microsoft.com/office/drawing/2014/main" id="{A7686FD8-C641-4673-95C0-F05C1B718667}"/>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Textfeld 45">
                <a:extLst>
                  <a:ext uri="{FF2B5EF4-FFF2-40B4-BE49-F238E27FC236}">
                    <a16:creationId xmlns:a16="http://schemas.microsoft.com/office/drawing/2014/main" id="{77525E5E-2FC8-4E8B-84DF-E406B4374875}"/>
                  </a:ext>
                </a:extLst>
              </p:cNvPr>
              <p:cNvSpPr txBox="1"/>
              <p:nvPr/>
            </p:nvSpPr>
            <p:spPr>
              <a:xfrm rot="10800000">
                <a:off x="-615197" y="4346120"/>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cxnSp>
          <p:nvCxnSpPr>
            <p:cNvPr id="41" name="Gerader Verbinder 40">
              <a:extLst>
                <a:ext uri="{FF2B5EF4-FFF2-40B4-BE49-F238E27FC236}">
                  <a16:creationId xmlns:a16="http://schemas.microsoft.com/office/drawing/2014/main" id="{51EE6560-8FBF-4C36-90A5-9F6D9B6B8604}"/>
                </a:ext>
              </a:extLst>
            </p:cNvPr>
            <p:cNvCxnSpPr>
              <a:cxnSpLocks/>
            </p:cNvCxnSpPr>
            <p:nvPr/>
          </p:nvCxnSpPr>
          <p:spPr>
            <a:xfrm rot="16200000">
              <a:off x="5890022" y="7150480"/>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2" name="Gruppieren 41">
              <a:extLst>
                <a:ext uri="{FF2B5EF4-FFF2-40B4-BE49-F238E27FC236}">
                  <a16:creationId xmlns:a16="http://schemas.microsoft.com/office/drawing/2014/main" id="{B419D3BC-DFC0-4A03-922D-32827ABA0832}"/>
                </a:ext>
              </a:extLst>
            </p:cNvPr>
            <p:cNvGrpSpPr/>
            <p:nvPr/>
          </p:nvGrpSpPr>
          <p:grpSpPr>
            <a:xfrm rot="16200000">
              <a:off x="11360571" y="7042149"/>
              <a:ext cx="411956" cy="216662"/>
              <a:chOff x="-615197" y="4295013"/>
              <a:chExt cx="411956" cy="216662"/>
            </a:xfrm>
          </p:grpSpPr>
          <p:cxnSp>
            <p:nvCxnSpPr>
              <p:cNvPr id="43" name="Gerader Verbinder 42">
                <a:extLst>
                  <a:ext uri="{FF2B5EF4-FFF2-40B4-BE49-F238E27FC236}">
                    <a16:creationId xmlns:a16="http://schemas.microsoft.com/office/drawing/2014/main" id="{744B679A-6F28-4AFB-8BF5-4305049195AD}"/>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F34B0ECC-B5B1-4DA1-A3F1-4B04F49D3CB5}"/>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grpSp>
        <p:nvGrpSpPr>
          <p:cNvPr id="51" name="Gruppieren 50">
            <a:extLst>
              <a:ext uri="{FF2B5EF4-FFF2-40B4-BE49-F238E27FC236}">
                <a16:creationId xmlns:a16="http://schemas.microsoft.com/office/drawing/2014/main" id="{FCB7BD6C-26FB-4151-A97E-8A2A947FCB9E}"/>
              </a:ext>
            </a:extLst>
          </p:cNvPr>
          <p:cNvGrpSpPr/>
          <p:nvPr userDrawn="1"/>
        </p:nvGrpSpPr>
        <p:grpSpPr>
          <a:xfrm>
            <a:off x="-697714" y="80201"/>
            <a:ext cx="411956" cy="6729801"/>
            <a:chOff x="-502267" y="80201"/>
            <a:chExt cx="411956" cy="6729801"/>
          </a:xfrm>
        </p:grpSpPr>
        <p:grpSp>
          <p:nvGrpSpPr>
            <p:cNvPr id="52" name="Gruppieren 51">
              <a:extLst>
                <a:ext uri="{FF2B5EF4-FFF2-40B4-BE49-F238E27FC236}">
                  <a16:creationId xmlns:a16="http://schemas.microsoft.com/office/drawing/2014/main" id="{36CAC4A9-FA2E-4A55-9CB1-1DB0EAAB5442}"/>
                </a:ext>
              </a:extLst>
            </p:cNvPr>
            <p:cNvGrpSpPr/>
            <p:nvPr/>
          </p:nvGrpSpPr>
          <p:grpSpPr>
            <a:xfrm>
              <a:off x="-502267" y="6593340"/>
              <a:ext cx="411956" cy="216662"/>
              <a:chOff x="-615197" y="4452994"/>
              <a:chExt cx="411956" cy="216662"/>
            </a:xfrm>
          </p:grpSpPr>
          <p:sp>
            <p:nvSpPr>
              <p:cNvPr id="103" name="Textfeld 102">
                <a:extLst>
                  <a:ext uri="{FF2B5EF4-FFF2-40B4-BE49-F238E27FC236}">
                    <a16:creationId xmlns:a16="http://schemas.microsoft.com/office/drawing/2014/main" id="{FB11088B-3E40-4E9D-8C60-2FCA0E75B9A5}"/>
                  </a:ext>
                </a:extLst>
              </p:cNvPr>
              <p:cNvSpPr txBox="1"/>
              <p:nvPr/>
            </p:nvSpPr>
            <p:spPr>
              <a:xfrm>
                <a:off x="-615197" y="4452994"/>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92</a:t>
                </a:r>
              </a:p>
            </p:txBody>
          </p:sp>
          <p:cxnSp>
            <p:nvCxnSpPr>
              <p:cNvPr id="104" name="Gerader Verbinder 103">
                <a:extLst>
                  <a:ext uri="{FF2B5EF4-FFF2-40B4-BE49-F238E27FC236}">
                    <a16:creationId xmlns:a16="http://schemas.microsoft.com/office/drawing/2014/main" id="{F8EA552B-BF98-4042-A8DE-B538FCB26234}"/>
                  </a:ext>
                </a:extLst>
              </p:cNvPr>
              <p:cNvCxnSpPr>
                <a:cxnSpLocks/>
              </p:cNvCxnSpPr>
              <p:nvPr/>
            </p:nvCxnSpPr>
            <p:spPr>
              <a:xfrm>
                <a:off x="-615197" y="4497389"/>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3" name="Gruppieren 52">
              <a:extLst>
                <a:ext uri="{FF2B5EF4-FFF2-40B4-BE49-F238E27FC236}">
                  <a16:creationId xmlns:a16="http://schemas.microsoft.com/office/drawing/2014/main" id="{ABA93755-D1C1-4606-B5AE-6C011A947E57}"/>
                </a:ext>
              </a:extLst>
            </p:cNvPr>
            <p:cNvGrpSpPr/>
            <p:nvPr/>
          </p:nvGrpSpPr>
          <p:grpSpPr>
            <a:xfrm>
              <a:off x="-502267" y="5876163"/>
              <a:ext cx="411956" cy="216662"/>
              <a:chOff x="-615197" y="4295013"/>
              <a:chExt cx="411956" cy="216662"/>
            </a:xfrm>
          </p:grpSpPr>
          <p:cxnSp>
            <p:nvCxnSpPr>
              <p:cNvPr id="101" name="Gerader Verbinder 100">
                <a:extLst>
                  <a:ext uri="{FF2B5EF4-FFF2-40B4-BE49-F238E27FC236}">
                    <a16:creationId xmlns:a16="http://schemas.microsoft.com/office/drawing/2014/main" id="{AE32DE81-FA6C-4CE0-ADE2-8627D3B99622}"/>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2" name="Textfeld 101">
                <a:extLst>
                  <a:ext uri="{FF2B5EF4-FFF2-40B4-BE49-F238E27FC236}">
                    <a16:creationId xmlns:a16="http://schemas.microsoft.com/office/drawing/2014/main" id="{267B9C0F-5D3A-4581-AE5D-1D5AF24A644D}"/>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7,40</a:t>
                </a:r>
              </a:p>
            </p:txBody>
          </p:sp>
        </p:grpSp>
        <p:grpSp>
          <p:nvGrpSpPr>
            <p:cNvPr id="54" name="Gruppieren 53">
              <a:extLst>
                <a:ext uri="{FF2B5EF4-FFF2-40B4-BE49-F238E27FC236}">
                  <a16:creationId xmlns:a16="http://schemas.microsoft.com/office/drawing/2014/main" id="{CEAF86A3-26D5-433B-A74B-662B221E11C5}"/>
                </a:ext>
              </a:extLst>
            </p:cNvPr>
            <p:cNvGrpSpPr/>
            <p:nvPr/>
          </p:nvGrpSpPr>
          <p:grpSpPr>
            <a:xfrm>
              <a:off x="-502267" y="3212338"/>
              <a:ext cx="411956" cy="216662"/>
              <a:chOff x="-615197" y="4295013"/>
              <a:chExt cx="411956" cy="216662"/>
            </a:xfrm>
          </p:grpSpPr>
          <p:cxnSp>
            <p:nvCxnSpPr>
              <p:cNvPr id="99" name="Gerader Verbinder 98">
                <a:extLst>
                  <a:ext uri="{FF2B5EF4-FFF2-40B4-BE49-F238E27FC236}">
                    <a16:creationId xmlns:a16="http://schemas.microsoft.com/office/drawing/2014/main" id="{3A630D2D-4125-4640-9CD0-6ED0841A9164}"/>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0" name="Textfeld 99">
                <a:extLst>
                  <a:ext uri="{FF2B5EF4-FFF2-40B4-BE49-F238E27FC236}">
                    <a16:creationId xmlns:a16="http://schemas.microsoft.com/office/drawing/2014/main" id="{B2E90D2A-74C5-49E0-B7F1-0B995DAB3D72}"/>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00</a:t>
                </a:r>
              </a:p>
            </p:txBody>
          </p:sp>
        </p:grpSp>
        <p:grpSp>
          <p:nvGrpSpPr>
            <p:cNvPr id="57" name="Gruppieren 56">
              <a:extLst>
                <a:ext uri="{FF2B5EF4-FFF2-40B4-BE49-F238E27FC236}">
                  <a16:creationId xmlns:a16="http://schemas.microsoft.com/office/drawing/2014/main" id="{1A7BDCCA-7560-4EA4-8604-D1723EC217FC}"/>
                </a:ext>
              </a:extLst>
            </p:cNvPr>
            <p:cNvGrpSpPr/>
            <p:nvPr/>
          </p:nvGrpSpPr>
          <p:grpSpPr>
            <a:xfrm>
              <a:off x="-502267" y="835851"/>
              <a:ext cx="411956" cy="216662"/>
              <a:chOff x="-615197" y="4295013"/>
              <a:chExt cx="411956" cy="216662"/>
            </a:xfrm>
          </p:grpSpPr>
          <p:cxnSp>
            <p:nvCxnSpPr>
              <p:cNvPr id="97" name="Gerader Verbinder 96">
                <a:extLst>
                  <a:ext uri="{FF2B5EF4-FFF2-40B4-BE49-F238E27FC236}">
                    <a16:creationId xmlns:a16="http://schemas.microsoft.com/office/drawing/2014/main" id="{C0AB8F62-5467-483E-A4EA-591E34AF53A0}"/>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8" name="Textfeld 97">
                <a:extLst>
                  <a:ext uri="{FF2B5EF4-FFF2-40B4-BE49-F238E27FC236}">
                    <a16:creationId xmlns:a16="http://schemas.microsoft.com/office/drawing/2014/main" id="{4AC61C99-FAD6-454A-9C8A-F818C313B6C1}"/>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6,60</a:t>
                </a:r>
              </a:p>
            </p:txBody>
          </p:sp>
        </p:grpSp>
        <p:grpSp>
          <p:nvGrpSpPr>
            <p:cNvPr id="74" name="Gruppieren 73">
              <a:extLst>
                <a:ext uri="{FF2B5EF4-FFF2-40B4-BE49-F238E27FC236}">
                  <a16:creationId xmlns:a16="http://schemas.microsoft.com/office/drawing/2014/main" id="{9A270D1F-5B98-4B34-9BC0-F608802F63F2}"/>
                </a:ext>
              </a:extLst>
            </p:cNvPr>
            <p:cNvGrpSpPr/>
            <p:nvPr/>
          </p:nvGrpSpPr>
          <p:grpSpPr>
            <a:xfrm>
              <a:off x="-502267" y="1412113"/>
              <a:ext cx="411956" cy="216662"/>
              <a:chOff x="-615197" y="4295013"/>
              <a:chExt cx="411956" cy="216662"/>
            </a:xfrm>
          </p:grpSpPr>
          <p:cxnSp>
            <p:nvCxnSpPr>
              <p:cNvPr id="95" name="Gerader Verbinder 94">
                <a:extLst>
                  <a:ext uri="{FF2B5EF4-FFF2-40B4-BE49-F238E27FC236}">
                    <a16:creationId xmlns:a16="http://schemas.microsoft.com/office/drawing/2014/main" id="{C7247493-8BA4-42C0-91A8-66C4F2F0C916}"/>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6" name="Textfeld 95">
                <a:extLst>
                  <a:ext uri="{FF2B5EF4-FFF2-40B4-BE49-F238E27FC236}">
                    <a16:creationId xmlns:a16="http://schemas.microsoft.com/office/drawing/2014/main" id="{5F6E0F25-8820-4F75-8A2A-305DB28489B0}"/>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5,00</a:t>
                </a:r>
              </a:p>
            </p:txBody>
          </p:sp>
        </p:grpSp>
        <p:grpSp>
          <p:nvGrpSpPr>
            <p:cNvPr id="92" name="Gruppieren 91">
              <a:extLst>
                <a:ext uri="{FF2B5EF4-FFF2-40B4-BE49-F238E27FC236}">
                  <a16:creationId xmlns:a16="http://schemas.microsoft.com/office/drawing/2014/main" id="{E5CB483E-9488-4E5C-9E7E-D3D41CC665F3}"/>
                </a:ext>
              </a:extLst>
            </p:cNvPr>
            <p:cNvGrpSpPr/>
            <p:nvPr/>
          </p:nvGrpSpPr>
          <p:grpSpPr>
            <a:xfrm>
              <a:off x="-502267" y="80201"/>
              <a:ext cx="411956" cy="216662"/>
              <a:chOff x="-615197" y="4258501"/>
              <a:chExt cx="411956" cy="216662"/>
            </a:xfrm>
          </p:grpSpPr>
          <p:cxnSp>
            <p:nvCxnSpPr>
              <p:cNvPr id="93" name="Gerader Verbinder 92">
                <a:extLst>
                  <a:ext uri="{FF2B5EF4-FFF2-40B4-BE49-F238E27FC236}">
                    <a16:creationId xmlns:a16="http://schemas.microsoft.com/office/drawing/2014/main" id="{2641CCA9-84B5-48C5-857D-4DC9DA045DA2}"/>
                  </a:ext>
                </a:extLst>
              </p:cNvPr>
              <p:cNvCxnSpPr>
                <a:cxnSpLocks/>
              </p:cNvCxnSpPr>
              <p:nvPr/>
            </p:nvCxnSpPr>
            <p:spPr>
              <a:xfrm>
                <a:off x="-615197" y="4475163"/>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4" name="Textfeld 93">
                <a:extLst>
                  <a:ext uri="{FF2B5EF4-FFF2-40B4-BE49-F238E27FC236}">
                    <a16:creationId xmlns:a16="http://schemas.microsoft.com/office/drawing/2014/main" id="{57664E9D-1E21-42C1-BE41-432F0E9603C5}"/>
                  </a:ext>
                </a:extLst>
              </p:cNvPr>
              <p:cNvSpPr txBox="1"/>
              <p:nvPr/>
            </p:nvSpPr>
            <p:spPr>
              <a:xfrm>
                <a:off x="-615197" y="4258501"/>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70</a:t>
                </a:r>
              </a:p>
            </p:txBody>
          </p:sp>
        </p:grpSp>
      </p:grpSp>
      <p:pic>
        <p:nvPicPr>
          <p:cNvPr id="2" name="Grafik 1">
            <a:extLst>
              <a:ext uri="{FF2B5EF4-FFF2-40B4-BE49-F238E27FC236}">
                <a16:creationId xmlns:a16="http://schemas.microsoft.com/office/drawing/2014/main" id="{92F106FB-E60C-5D38-8154-42D2B20B7D47}"/>
              </a:ext>
            </a:extLst>
          </p:cNvPr>
          <p:cNvPicPr>
            <a:picLocks noChangeAspect="1"/>
          </p:cNvPicPr>
          <p:nvPr userDrawn="1"/>
        </p:nvPicPr>
        <p:blipFill>
          <a:blip r:embed="rId2">
            <a:extLst>
              <a:ext uri="{28A0092B-C50C-407E-A947-70E740481C1C}">
                <a14:useLocalDpi xmlns:a14="http://schemas.microsoft.com/office/drawing/2010/main" val="0"/>
              </a:ext>
            </a:extLst>
          </a:blip>
          <a:srcRect l="11980" t="27160" r="12453" b="27507"/>
          <a:stretch/>
        </p:blipFill>
        <p:spPr>
          <a:xfrm>
            <a:off x="2775320" y="2595160"/>
            <a:ext cx="6933520" cy="1667680"/>
          </a:xfrm>
          <a:prstGeom prst="rect">
            <a:avLst/>
          </a:prstGeom>
        </p:spPr>
      </p:pic>
    </p:spTree>
    <p:extLst>
      <p:ext uri="{BB962C8B-B14F-4D97-AF65-F5344CB8AC3E}">
        <p14:creationId xmlns:p14="http://schemas.microsoft.com/office/powerpoint/2010/main" val="81625968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F629EA-DE05-4C01-9F06-D25F1A8C22E5}"/>
              </a:ext>
            </a:extLst>
          </p:cNvPr>
          <p:cNvSpPr>
            <a:spLocks noGrp="1"/>
          </p:cNvSpPr>
          <p:nvPr>
            <p:ph type="ctrTitle"/>
          </p:nvPr>
        </p:nvSpPr>
        <p:spPr>
          <a:xfrm>
            <a:off x="1524000" y="1663304"/>
            <a:ext cx="9144000" cy="1846659"/>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4C0B651E-82FF-4E81-8275-1648A55358B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5" name="Fußzeilenplatzhalter 4">
            <a:extLst>
              <a:ext uri="{FF2B5EF4-FFF2-40B4-BE49-F238E27FC236}">
                <a16:creationId xmlns:a16="http://schemas.microsoft.com/office/drawing/2014/main" id="{82D2813B-4BE8-4882-B0FA-05AA2860C53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2C7B495-015B-46DF-B926-A0D118D9BE6D}"/>
              </a:ext>
            </a:extLst>
          </p:cNvPr>
          <p:cNvSpPr>
            <a:spLocks noGrp="1"/>
          </p:cNvSpPr>
          <p:nvPr>
            <p:ph type="sldNum" sz="quarter" idx="12"/>
          </p:nvPr>
        </p:nvSpPr>
        <p:spPr/>
        <p:txBody>
          <a:bodyPr/>
          <a:lstStyle/>
          <a:p>
            <a:fld id="{03A904B3-5160-4A42-BE05-3A7A1F9AD063}" type="slidenum">
              <a:rPr lang="de-DE" smtClean="0"/>
              <a:t>‹Nr.›</a:t>
            </a:fld>
            <a:endParaRPr lang="de-DE"/>
          </a:p>
        </p:txBody>
      </p:sp>
    </p:spTree>
    <p:extLst>
      <p:ext uri="{BB962C8B-B14F-4D97-AF65-F5344CB8AC3E}">
        <p14:creationId xmlns:p14="http://schemas.microsoft.com/office/powerpoint/2010/main" val="12024897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C50F72-B8F5-46F1-B352-25B1DB401EC4}" type="datetimeFigureOut">
              <a:rPr lang="en-CA" smtClean="0"/>
              <a:t>2025-02-17</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0C90F3C9-5071-4A64-A50F-50F2566CE46C}" type="slidenum">
              <a:rPr lang="en-CA" smtClean="0"/>
              <a:t>‹Nr.›</a:t>
            </a:fld>
            <a:endParaRPr lang="en-CA"/>
          </a:p>
        </p:txBody>
      </p:sp>
    </p:spTree>
    <p:extLst>
      <p:ext uri="{BB962C8B-B14F-4D97-AF65-F5344CB8AC3E}">
        <p14:creationId xmlns:p14="http://schemas.microsoft.com/office/powerpoint/2010/main" val="39794178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8E4AE3-D9DB-46CF-9345-9B80F5730D69}"/>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153D208-D124-450F-9690-26785CB487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6C32FE4-55F3-41FA-94A6-AC9B799C92C4}"/>
              </a:ext>
            </a:extLst>
          </p:cNvPr>
          <p:cNvSpPr>
            <a:spLocks noGrp="1"/>
          </p:cNvSpPr>
          <p:nvPr>
            <p:ph type="dt" sz="half" idx="10"/>
          </p:nvPr>
        </p:nvSpPr>
        <p:spPr/>
        <p:txBody>
          <a:bodyPr/>
          <a:lstStyle/>
          <a:p>
            <a:fld id="{3007B752-09EC-450F-9C4A-4B807178D026}" type="datetime4">
              <a:rPr lang="de-DE" smtClean="0"/>
              <a:t>17. Februar 2025</a:t>
            </a:fld>
            <a:endParaRPr lang="de-DE"/>
          </a:p>
        </p:txBody>
      </p:sp>
      <p:sp>
        <p:nvSpPr>
          <p:cNvPr id="5" name="Fußzeilenplatzhalter 4">
            <a:extLst>
              <a:ext uri="{FF2B5EF4-FFF2-40B4-BE49-F238E27FC236}">
                <a16:creationId xmlns:a16="http://schemas.microsoft.com/office/drawing/2014/main" id="{2ED6BC56-0ABB-4258-946C-D4D98A4A62E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468463B-F3C7-443C-BF22-ACB55E431BFC}"/>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19049761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64130F-03E2-491A-B826-42C1CAB49D9F}"/>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1A6C4A3-00DE-4441-AC30-3250FF14ACA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8FE9E15-EA9D-48FF-A897-1A9679D67EBD}"/>
              </a:ext>
            </a:extLst>
          </p:cNvPr>
          <p:cNvSpPr>
            <a:spLocks noGrp="1"/>
          </p:cNvSpPr>
          <p:nvPr>
            <p:ph type="dt" sz="half" idx="10"/>
          </p:nvPr>
        </p:nvSpPr>
        <p:spPr/>
        <p:txBody>
          <a:bodyPr/>
          <a:lstStyle/>
          <a:p>
            <a:fld id="{1D88731D-CDEE-4903-9AB5-6442E0FA9D0B}" type="datetime4">
              <a:rPr lang="de-DE" smtClean="0"/>
              <a:t>17. Februar 2025</a:t>
            </a:fld>
            <a:endParaRPr lang="de-DE"/>
          </a:p>
        </p:txBody>
      </p:sp>
      <p:sp>
        <p:nvSpPr>
          <p:cNvPr id="5" name="Fußzeilenplatzhalter 4">
            <a:extLst>
              <a:ext uri="{FF2B5EF4-FFF2-40B4-BE49-F238E27FC236}">
                <a16:creationId xmlns:a16="http://schemas.microsoft.com/office/drawing/2014/main" id="{44B43A78-170E-49B2-9A95-42CEDEDE8EE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4279EEF3-75A5-42E5-A3F1-F3C7E72ECD16}"/>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13117217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E4AF0A-28FA-4A23-AE73-D135AFB0A75E}"/>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7C0DD9BC-EDE6-4EB6-9228-EE92CB3BCB8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5EB01E5C-26D9-4B01-995A-D7066A85C630}"/>
              </a:ext>
            </a:extLst>
          </p:cNvPr>
          <p:cNvSpPr>
            <a:spLocks noGrp="1"/>
          </p:cNvSpPr>
          <p:nvPr>
            <p:ph type="dt" sz="half" idx="10"/>
          </p:nvPr>
        </p:nvSpPr>
        <p:spPr/>
        <p:txBody>
          <a:bodyPr/>
          <a:lstStyle/>
          <a:p>
            <a:fld id="{80A4E3E2-A545-49C6-A14E-65F58F1E1A3C}" type="datetime4">
              <a:rPr lang="de-DE" smtClean="0"/>
              <a:t>17. Februar 2025</a:t>
            </a:fld>
            <a:endParaRPr lang="de-DE"/>
          </a:p>
        </p:txBody>
      </p:sp>
      <p:sp>
        <p:nvSpPr>
          <p:cNvPr id="5" name="Fußzeilenplatzhalter 4">
            <a:extLst>
              <a:ext uri="{FF2B5EF4-FFF2-40B4-BE49-F238E27FC236}">
                <a16:creationId xmlns:a16="http://schemas.microsoft.com/office/drawing/2014/main" id="{FC7A3444-6C39-4F40-8B1F-A7979F08BC37}"/>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5FA6340-AF15-4A72-AD5D-1E6019E23D50}"/>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40901609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C61492-C9A9-4B90-9CD6-1228F3ED8A0C}"/>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A5F15B62-1AF0-4CB3-9A98-BE537D11BDDA}"/>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93DFCE06-6A3D-4A84-9FDC-CA92794524A6}"/>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5D97094D-B0DB-42EA-88B4-D3E9FF50EBAF}"/>
              </a:ext>
            </a:extLst>
          </p:cNvPr>
          <p:cNvSpPr>
            <a:spLocks noGrp="1"/>
          </p:cNvSpPr>
          <p:nvPr>
            <p:ph type="dt" sz="half" idx="10"/>
          </p:nvPr>
        </p:nvSpPr>
        <p:spPr/>
        <p:txBody>
          <a:bodyPr/>
          <a:lstStyle/>
          <a:p>
            <a:fld id="{6171B2B5-9650-455D-9DF5-46BB81D2E3D6}" type="datetime4">
              <a:rPr lang="de-DE" smtClean="0"/>
              <a:t>17. Februar 2025</a:t>
            </a:fld>
            <a:endParaRPr lang="de-DE"/>
          </a:p>
        </p:txBody>
      </p:sp>
      <p:sp>
        <p:nvSpPr>
          <p:cNvPr id="6" name="Fußzeilenplatzhalter 5">
            <a:extLst>
              <a:ext uri="{FF2B5EF4-FFF2-40B4-BE49-F238E27FC236}">
                <a16:creationId xmlns:a16="http://schemas.microsoft.com/office/drawing/2014/main" id="{D83D3D3E-E602-4446-B94B-CBBDC63E12E8}"/>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4775F61A-6FBE-4C19-B20E-42236C1D356D}"/>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41125651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2ADA5C-EA6C-44B5-9F01-C04A48B5C365}"/>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EADEBE49-28CB-4437-8EAA-E384A97552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52D719CE-F787-4E76-9B96-583ADC03EC45}"/>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87045919-4F15-4C81-8DE1-F688261B6DC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D7B90C8C-DC91-4D4B-BF8D-CF20DF37890A}"/>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6AB3D94-43DF-4AC1-9941-8ACD4174BC8E}"/>
              </a:ext>
            </a:extLst>
          </p:cNvPr>
          <p:cNvSpPr>
            <a:spLocks noGrp="1"/>
          </p:cNvSpPr>
          <p:nvPr>
            <p:ph type="dt" sz="half" idx="10"/>
          </p:nvPr>
        </p:nvSpPr>
        <p:spPr/>
        <p:txBody>
          <a:bodyPr/>
          <a:lstStyle/>
          <a:p>
            <a:fld id="{0E104AA1-C71F-48D6-ACBD-88ACA60F196B}" type="datetime4">
              <a:rPr lang="de-DE" smtClean="0"/>
              <a:t>17. Februar 2025</a:t>
            </a:fld>
            <a:endParaRPr lang="de-DE"/>
          </a:p>
        </p:txBody>
      </p:sp>
      <p:sp>
        <p:nvSpPr>
          <p:cNvPr id="8" name="Fußzeilenplatzhalter 7">
            <a:extLst>
              <a:ext uri="{FF2B5EF4-FFF2-40B4-BE49-F238E27FC236}">
                <a16:creationId xmlns:a16="http://schemas.microsoft.com/office/drawing/2014/main" id="{B3E04DAF-CA16-4870-A9F2-9FDC340EFC36}"/>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91F30E33-5A09-4818-92EB-F1FA6E378A9F}"/>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5762091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 Inter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92DD91-EAE8-4850-A1F1-29F8A7A57DEA}"/>
              </a:ext>
            </a:extLst>
          </p:cNvPr>
          <p:cNvSpPr>
            <a:spLocks noGrp="1"/>
          </p:cNvSpPr>
          <p:nvPr>
            <p:ph type="title"/>
          </p:nvPr>
        </p:nvSpPr>
        <p:spPr>
          <a:xfrm>
            <a:off x="518319" y="2213089"/>
            <a:ext cx="11157744" cy="738664"/>
          </a:xfrm>
        </p:spPr>
        <p:txBody>
          <a:bodyPr anchor="b" anchorCtr="0"/>
          <a:lstStyle>
            <a:lvl1pPr>
              <a:defRPr sz="4800" b="1"/>
            </a:lvl1pPr>
          </a:lstStyle>
          <a:p>
            <a:r>
              <a:rPr lang="de-DE"/>
              <a:t>Mastertitelformat bearbeiten</a:t>
            </a:r>
          </a:p>
        </p:txBody>
      </p:sp>
      <p:sp>
        <p:nvSpPr>
          <p:cNvPr id="15" name="Textplatzhalter 14">
            <a:extLst>
              <a:ext uri="{FF2B5EF4-FFF2-40B4-BE49-F238E27FC236}">
                <a16:creationId xmlns:a16="http://schemas.microsoft.com/office/drawing/2014/main" id="{1810713E-3804-4787-B0E9-28105C274813}"/>
              </a:ext>
            </a:extLst>
          </p:cNvPr>
          <p:cNvSpPr>
            <a:spLocks noGrp="1"/>
          </p:cNvSpPr>
          <p:nvPr>
            <p:ph type="body" sz="quarter" idx="11" hasCustomPrompt="1"/>
          </p:nvPr>
        </p:nvSpPr>
        <p:spPr>
          <a:xfrm>
            <a:off x="1609725" y="4965080"/>
            <a:ext cx="3228592" cy="184666"/>
          </a:xfrm>
        </p:spPr>
        <p:txBody>
          <a:bodyPr wrap="square">
            <a:spAutoFit/>
          </a:bodyPr>
          <a:lstStyle>
            <a:lvl1pPr>
              <a:defRPr sz="1200" b="0">
                <a:solidFill>
                  <a:schemeClr val="tx1"/>
                </a:solidFill>
                <a:latin typeface="+mn-lt"/>
              </a:defRPr>
            </a:lvl1pPr>
          </a:lstStyle>
          <a:p>
            <a:pPr lvl="0"/>
            <a:r>
              <a:rPr lang="de-DE"/>
              <a:t>Zielgruppe</a:t>
            </a:r>
          </a:p>
        </p:txBody>
      </p:sp>
      <p:sp>
        <p:nvSpPr>
          <p:cNvPr id="18" name="Textplatzhalter 14">
            <a:extLst>
              <a:ext uri="{FF2B5EF4-FFF2-40B4-BE49-F238E27FC236}">
                <a16:creationId xmlns:a16="http://schemas.microsoft.com/office/drawing/2014/main" id="{5E062E4E-FEC5-4007-94FA-E26B3F377E44}"/>
              </a:ext>
            </a:extLst>
          </p:cNvPr>
          <p:cNvSpPr>
            <a:spLocks noGrp="1"/>
          </p:cNvSpPr>
          <p:nvPr>
            <p:ph type="body" sz="quarter" idx="12" hasCustomPrompt="1"/>
          </p:nvPr>
        </p:nvSpPr>
        <p:spPr>
          <a:xfrm>
            <a:off x="1609725" y="5141291"/>
            <a:ext cx="3228592" cy="697105"/>
          </a:xfrm>
        </p:spPr>
        <p:txBody>
          <a:bodyPr wrap="square">
            <a:noAutofit/>
          </a:bodyPr>
          <a:lstStyle>
            <a:lvl1pPr>
              <a:defRPr sz="1200" b="0">
                <a:solidFill>
                  <a:schemeClr val="tx1"/>
                </a:solidFill>
                <a:latin typeface="+mn-lt"/>
              </a:defRPr>
            </a:lvl1pPr>
          </a:lstStyle>
          <a:p>
            <a:pPr lvl="0"/>
            <a:r>
              <a:rPr lang="de-DE"/>
              <a:t>Ziel</a:t>
            </a:r>
          </a:p>
        </p:txBody>
      </p:sp>
      <p:sp>
        <p:nvSpPr>
          <p:cNvPr id="19" name="Textplatzhalter 14">
            <a:extLst>
              <a:ext uri="{FF2B5EF4-FFF2-40B4-BE49-F238E27FC236}">
                <a16:creationId xmlns:a16="http://schemas.microsoft.com/office/drawing/2014/main" id="{B988E013-D7EA-4250-95FD-1943849D45DE}"/>
              </a:ext>
            </a:extLst>
          </p:cNvPr>
          <p:cNvSpPr>
            <a:spLocks noGrp="1"/>
          </p:cNvSpPr>
          <p:nvPr>
            <p:ph type="body" sz="quarter" idx="13" hasCustomPrompt="1"/>
          </p:nvPr>
        </p:nvSpPr>
        <p:spPr>
          <a:xfrm>
            <a:off x="5096107" y="4965080"/>
            <a:ext cx="4319999" cy="184666"/>
          </a:xfrm>
        </p:spPr>
        <p:txBody>
          <a:bodyPr>
            <a:spAutoFit/>
          </a:bodyPr>
          <a:lstStyle>
            <a:lvl1pPr>
              <a:defRPr sz="1200" b="1">
                <a:solidFill>
                  <a:schemeClr val="tx1"/>
                </a:solidFill>
                <a:latin typeface="+mn-lt"/>
              </a:defRPr>
            </a:lvl1pPr>
          </a:lstStyle>
          <a:p>
            <a:pPr lvl="0"/>
            <a:r>
              <a:rPr lang="de-DE"/>
              <a:t>Ersteller</a:t>
            </a:r>
          </a:p>
        </p:txBody>
      </p:sp>
      <p:sp>
        <p:nvSpPr>
          <p:cNvPr id="20" name="Textplatzhalter 14">
            <a:extLst>
              <a:ext uri="{FF2B5EF4-FFF2-40B4-BE49-F238E27FC236}">
                <a16:creationId xmlns:a16="http://schemas.microsoft.com/office/drawing/2014/main" id="{FCFD2F7D-2405-47CC-ADE1-89F4F050B1B8}"/>
              </a:ext>
            </a:extLst>
          </p:cNvPr>
          <p:cNvSpPr>
            <a:spLocks noGrp="1"/>
          </p:cNvSpPr>
          <p:nvPr>
            <p:ph type="body" sz="quarter" idx="14" hasCustomPrompt="1"/>
          </p:nvPr>
        </p:nvSpPr>
        <p:spPr>
          <a:xfrm>
            <a:off x="5096107" y="5141292"/>
            <a:ext cx="4319999" cy="184666"/>
          </a:xfrm>
        </p:spPr>
        <p:txBody>
          <a:bodyPr>
            <a:spAutoFit/>
          </a:bodyPr>
          <a:lstStyle>
            <a:lvl1pPr>
              <a:defRPr sz="1200" b="0">
                <a:solidFill>
                  <a:schemeClr val="tx1"/>
                </a:solidFill>
                <a:latin typeface="+mn-lt"/>
              </a:defRPr>
            </a:lvl1pPr>
          </a:lstStyle>
          <a:p>
            <a:pPr lvl="0"/>
            <a:r>
              <a:rPr lang="de-DE"/>
              <a:t>Abteilung</a:t>
            </a:r>
          </a:p>
        </p:txBody>
      </p:sp>
      <p:sp>
        <p:nvSpPr>
          <p:cNvPr id="26" name="Textplatzhalter 8">
            <a:extLst>
              <a:ext uri="{FF2B5EF4-FFF2-40B4-BE49-F238E27FC236}">
                <a16:creationId xmlns:a16="http://schemas.microsoft.com/office/drawing/2014/main" id="{F52AEE9E-B08F-4C0A-BEEE-04C7FFB48E71}"/>
              </a:ext>
            </a:extLst>
          </p:cNvPr>
          <p:cNvSpPr>
            <a:spLocks noGrp="1"/>
          </p:cNvSpPr>
          <p:nvPr>
            <p:ph type="body" sz="quarter" idx="20"/>
          </p:nvPr>
        </p:nvSpPr>
        <p:spPr>
          <a:xfrm>
            <a:off x="518319" y="2872085"/>
            <a:ext cx="11157744" cy="738664"/>
          </a:xfrm>
        </p:spPr>
        <p:txBody>
          <a:bodyPr wrap="square">
            <a:noAutofit/>
          </a:bodyPr>
          <a:lstStyle>
            <a:lvl1pPr>
              <a:lnSpc>
                <a:spcPct val="100000"/>
              </a:lnSpc>
              <a:spcAft>
                <a:spcPts val="0"/>
              </a:spcAft>
              <a:defRPr sz="4800">
                <a:latin typeface="+mn-lt"/>
                <a:cs typeface="ZEISS Frutiger Next W1G Lt" panose="020B0302030202020203" pitchFamily="34" charset="0"/>
              </a:defRPr>
            </a:lvl1pPr>
          </a:lstStyle>
          <a:p>
            <a:pPr lvl="0"/>
            <a:r>
              <a:rPr lang="de-DE"/>
              <a:t>Mastertextformat bearbeiten</a:t>
            </a:r>
          </a:p>
        </p:txBody>
      </p:sp>
      <p:cxnSp>
        <p:nvCxnSpPr>
          <p:cNvPr id="55" name="Gerade Verbindung 22">
            <a:extLst>
              <a:ext uri="{FF2B5EF4-FFF2-40B4-BE49-F238E27FC236}">
                <a16:creationId xmlns:a16="http://schemas.microsoft.com/office/drawing/2014/main" id="{0FD81930-1AB6-453C-8CF7-2246B3482FB4}"/>
              </a:ext>
            </a:extLst>
          </p:cNvPr>
          <p:cNvCxnSpPr>
            <a:cxnSpLocks/>
          </p:cNvCxnSpPr>
          <p:nvPr/>
        </p:nvCxnSpPr>
        <p:spPr>
          <a:xfrm>
            <a:off x="5096108" y="4889103"/>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57" name="Gerade Verbindung 22">
            <a:extLst>
              <a:ext uri="{FF2B5EF4-FFF2-40B4-BE49-F238E27FC236}">
                <a16:creationId xmlns:a16="http://schemas.microsoft.com/office/drawing/2014/main" id="{F4D114BB-7210-400E-8A65-8B658E626712}"/>
              </a:ext>
            </a:extLst>
          </p:cNvPr>
          <p:cNvCxnSpPr>
            <a:cxnSpLocks/>
          </p:cNvCxnSpPr>
          <p:nvPr/>
        </p:nvCxnSpPr>
        <p:spPr>
          <a:xfrm>
            <a:off x="5096107" y="5577761"/>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60" name="Gerade Verbindung 22">
            <a:extLst>
              <a:ext uri="{FF2B5EF4-FFF2-40B4-BE49-F238E27FC236}">
                <a16:creationId xmlns:a16="http://schemas.microsoft.com/office/drawing/2014/main" id="{71C425F1-6606-4095-917F-0A5EABB8E022}"/>
              </a:ext>
            </a:extLst>
          </p:cNvPr>
          <p:cNvCxnSpPr>
            <a:cxnSpLocks/>
          </p:cNvCxnSpPr>
          <p:nvPr/>
        </p:nvCxnSpPr>
        <p:spPr>
          <a:xfrm>
            <a:off x="5096107" y="6093705"/>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131" name="Gerade Verbindung 22">
            <a:extLst>
              <a:ext uri="{FF2B5EF4-FFF2-40B4-BE49-F238E27FC236}">
                <a16:creationId xmlns:a16="http://schemas.microsoft.com/office/drawing/2014/main" id="{929C78D0-9AC5-4AD0-BA80-D1DBD8376211}"/>
              </a:ext>
            </a:extLst>
          </p:cNvPr>
          <p:cNvCxnSpPr>
            <a:cxnSpLocks/>
          </p:cNvCxnSpPr>
          <p:nvPr userDrawn="1"/>
        </p:nvCxnSpPr>
        <p:spPr>
          <a:xfrm>
            <a:off x="5096107" y="6093705"/>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53" name="Gerade Verbindung 22">
            <a:extLst>
              <a:ext uri="{FF2B5EF4-FFF2-40B4-BE49-F238E27FC236}">
                <a16:creationId xmlns:a16="http://schemas.microsoft.com/office/drawing/2014/main" id="{B7AC5EDF-D9FB-40CE-BD44-B44AB9AF273D}"/>
              </a:ext>
            </a:extLst>
          </p:cNvPr>
          <p:cNvCxnSpPr>
            <a:cxnSpLocks/>
          </p:cNvCxnSpPr>
          <p:nvPr userDrawn="1"/>
        </p:nvCxnSpPr>
        <p:spPr>
          <a:xfrm>
            <a:off x="518318" y="4889103"/>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6B3858EA-1E2B-40BB-88B6-70384BC3466D}"/>
              </a:ext>
            </a:extLst>
          </p:cNvPr>
          <p:cNvSpPr txBox="1"/>
          <p:nvPr userDrawn="1"/>
        </p:nvSpPr>
        <p:spPr>
          <a:xfrm>
            <a:off x="518318" y="4965080"/>
            <a:ext cx="899160" cy="184666"/>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800"/>
              </a:spcAft>
              <a:buClrTx/>
              <a:buSzTx/>
              <a:buFont typeface="Wingdings" panose="05000000000000000000" pitchFamily="2" charset="2"/>
              <a:buNone/>
              <a:tabLst/>
            </a:pPr>
            <a:r>
              <a:rPr kumimoji="0" lang="de-DE" sz="1200" b="1" i="0" u="none" strike="noStrike" kern="1200" cap="none" spc="0" normalizeH="0" baseline="0" noProof="0">
                <a:ln>
                  <a:noFill/>
                </a:ln>
                <a:solidFill>
                  <a:srgbClr val="000000"/>
                </a:solidFill>
                <a:effectLst/>
                <a:uLnTx/>
                <a:uFillTx/>
                <a:latin typeface="ZEISS Frutiger Next W1G"/>
                <a:ea typeface="+mn-ea"/>
                <a:cs typeface="+mn-cs"/>
              </a:rPr>
              <a:t>Zielgruppe:</a:t>
            </a:r>
          </a:p>
        </p:txBody>
      </p:sp>
      <p:sp>
        <p:nvSpPr>
          <p:cNvPr id="54" name="Textfeld 53">
            <a:extLst>
              <a:ext uri="{FF2B5EF4-FFF2-40B4-BE49-F238E27FC236}">
                <a16:creationId xmlns:a16="http://schemas.microsoft.com/office/drawing/2014/main" id="{53F235B6-8F15-44AD-A35D-04C9940BCC70}"/>
              </a:ext>
            </a:extLst>
          </p:cNvPr>
          <p:cNvSpPr txBox="1"/>
          <p:nvPr userDrawn="1"/>
        </p:nvSpPr>
        <p:spPr>
          <a:xfrm>
            <a:off x="518318" y="5141292"/>
            <a:ext cx="899160" cy="184666"/>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800"/>
              </a:spcAft>
              <a:buClrTx/>
              <a:buSzTx/>
              <a:buFont typeface="Wingdings" panose="05000000000000000000" pitchFamily="2" charset="2"/>
              <a:buNone/>
              <a:tabLst/>
            </a:pPr>
            <a:r>
              <a:rPr kumimoji="0" lang="de-DE" sz="1200" b="0" i="0" u="none" strike="noStrike" kern="1200" cap="none" spc="0" normalizeH="0" baseline="0" noProof="0">
                <a:ln>
                  <a:noFill/>
                </a:ln>
                <a:solidFill>
                  <a:srgbClr val="000000"/>
                </a:solidFill>
                <a:effectLst/>
                <a:uLnTx/>
                <a:uFillTx/>
                <a:latin typeface="ZEISS Frutiger Next W1G"/>
                <a:ea typeface="+mn-ea"/>
                <a:cs typeface="+mn-cs"/>
              </a:rPr>
              <a:t>Ziel:</a:t>
            </a:r>
          </a:p>
        </p:txBody>
      </p:sp>
      <p:sp>
        <p:nvSpPr>
          <p:cNvPr id="56" name="Datumsplatzhalter 1">
            <a:extLst>
              <a:ext uri="{FF2B5EF4-FFF2-40B4-BE49-F238E27FC236}">
                <a16:creationId xmlns:a16="http://schemas.microsoft.com/office/drawing/2014/main" id="{3454106C-2ACB-473E-BEB9-6CD72BA5D955}"/>
              </a:ext>
            </a:extLst>
          </p:cNvPr>
          <p:cNvSpPr>
            <a:spLocks noGrp="1"/>
          </p:cNvSpPr>
          <p:nvPr>
            <p:ph type="dt" sz="half" idx="16"/>
          </p:nvPr>
        </p:nvSpPr>
        <p:spPr>
          <a:xfrm>
            <a:off x="5096107" y="5651841"/>
            <a:ext cx="1178208" cy="184666"/>
          </a:xfrm>
          <a:prstGeom prst="rect">
            <a:avLst/>
          </a:prstGeom>
        </p:spPr>
        <p:txBody>
          <a:bodyPr vert="horz" lIns="0" tIns="0" rIns="0" bIns="0" rtlCol="0" anchor="t" anchorCtr="0">
            <a:spAutoFit/>
          </a:bodyPr>
          <a:lstStyle>
            <a:lvl1pPr>
              <a:defRPr lang="de-DE" sz="1200" b="1" smtClean="0">
                <a:cs typeface="+mn-cs"/>
              </a:defRPr>
            </a:lvl1pPr>
          </a:lstStyle>
          <a:p>
            <a:pPr>
              <a:spcAft>
                <a:spcPts val="800"/>
              </a:spcAft>
              <a:buFont typeface="Arial" panose="020B0604020202020204" pitchFamily="34" charset="0"/>
              <a:buNone/>
            </a:pPr>
            <a:fld id="{00D4B15A-12AA-4F65-A681-0A2A5378D5B1}" type="datetime4">
              <a:rPr lang="de-DE" smtClean="0"/>
              <a:t>17. Februar 2025</a:t>
            </a:fld>
            <a:endParaRPr lang="de-DE"/>
          </a:p>
        </p:txBody>
      </p:sp>
      <p:grpSp>
        <p:nvGrpSpPr>
          <p:cNvPr id="51" name="Gruppieren 50">
            <a:extLst>
              <a:ext uri="{FF2B5EF4-FFF2-40B4-BE49-F238E27FC236}">
                <a16:creationId xmlns:a16="http://schemas.microsoft.com/office/drawing/2014/main" id="{DE3F12D7-D968-45FF-97C5-EE698332055B}"/>
              </a:ext>
            </a:extLst>
          </p:cNvPr>
          <p:cNvGrpSpPr/>
          <p:nvPr userDrawn="1"/>
        </p:nvGrpSpPr>
        <p:grpSpPr>
          <a:xfrm>
            <a:off x="299275" y="-697714"/>
            <a:ext cx="11375605" cy="411956"/>
            <a:chOff x="299275" y="6944502"/>
            <a:chExt cx="11375605" cy="411956"/>
          </a:xfrm>
        </p:grpSpPr>
        <p:grpSp>
          <p:nvGrpSpPr>
            <p:cNvPr id="52" name="Gruppieren 51">
              <a:extLst>
                <a:ext uri="{FF2B5EF4-FFF2-40B4-BE49-F238E27FC236}">
                  <a16:creationId xmlns:a16="http://schemas.microsoft.com/office/drawing/2014/main" id="{72FDE1AE-6C26-4AEA-B813-968E3FA84E45}"/>
                </a:ext>
              </a:extLst>
            </p:cNvPr>
            <p:cNvGrpSpPr/>
            <p:nvPr/>
          </p:nvGrpSpPr>
          <p:grpSpPr>
            <a:xfrm rot="16200000">
              <a:off x="201628" y="7042149"/>
              <a:ext cx="411956" cy="216662"/>
              <a:chOff x="-615197" y="4295013"/>
              <a:chExt cx="411956" cy="216662"/>
            </a:xfrm>
          </p:grpSpPr>
          <p:cxnSp>
            <p:nvCxnSpPr>
              <p:cNvPr id="69" name="Gerader Verbinder 68">
                <a:extLst>
                  <a:ext uri="{FF2B5EF4-FFF2-40B4-BE49-F238E27FC236}">
                    <a16:creationId xmlns:a16="http://schemas.microsoft.com/office/drawing/2014/main" id="{391E1ABA-279E-42BE-A471-0665792380F3}"/>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2" name="Textfeld 71">
                <a:extLst>
                  <a:ext uri="{FF2B5EF4-FFF2-40B4-BE49-F238E27FC236}">
                    <a16:creationId xmlns:a16="http://schemas.microsoft.com/office/drawing/2014/main" id="{A31CB283-6586-422E-A364-5B59963EA10A}"/>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nvGrpSpPr>
            <p:cNvPr id="58" name="Gruppieren 57">
              <a:extLst>
                <a:ext uri="{FF2B5EF4-FFF2-40B4-BE49-F238E27FC236}">
                  <a16:creationId xmlns:a16="http://schemas.microsoft.com/office/drawing/2014/main" id="{0DF1696E-3E10-42C0-87B2-EC94416ABDD7}"/>
                </a:ext>
              </a:extLst>
            </p:cNvPr>
            <p:cNvGrpSpPr/>
            <p:nvPr/>
          </p:nvGrpSpPr>
          <p:grpSpPr>
            <a:xfrm rot="16200000">
              <a:off x="5637228" y="7042149"/>
              <a:ext cx="411956" cy="216662"/>
              <a:chOff x="-615197" y="4295013"/>
              <a:chExt cx="411956" cy="216662"/>
            </a:xfrm>
          </p:grpSpPr>
          <p:cxnSp>
            <p:nvCxnSpPr>
              <p:cNvPr id="67" name="Gerader Verbinder 66">
                <a:extLst>
                  <a:ext uri="{FF2B5EF4-FFF2-40B4-BE49-F238E27FC236}">
                    <a16:creationId xmlns:a16="http://schemas.microsoft.com/office/drawing/2014/main" id="{BE529AD2-E754-43F8-9BF1-A71DDC97706E}"/>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Textfeld 67">
                <a:extLst>
                  <a:ext uri="{FF2B5EF4-FFF2-40B4-BE49-F238E27FC236}">
                    <a16:creationId xmlns:a16="http://schemas.microsoft.com/office/drawing/2014/main" id="{61F84B31-21D7-4645-94FB-2E2C3D087554}"/>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grpSp>
          <p:nvGrpSpPr>
            <p:cNvPr id="59" name="Gruppieren 58">
              <a:extLst>
                <a:ext uri="{FF2B5EF4-FFF2-40B4-BE49-F238E27FC236}">
                  <a16:creationId xmlns:a16="http://schemas.microsoft.com/office/drawing/2014/main" id="{7666289F-95B3-42CA-9894-E8382EEDD363}"/>
                </a:ext>
              </a:extLst>
            </p:cNvPr>
            <p:cNvGrpSpPr/>
            <p:nvPr/>
          </p:nvGrpSpPr>
          <p:grpSpPr>
            <a:xfrm rot="5400000">
              <a:off x="6093326" y="7042149"/>
              <a:ext cx="411956" cy="216662"/>
              <a:chOff x="-615197" y="4346120"/>
              <a:chExt cx="411956" cy="216662"/>
            </a:xfrm>
          </p:grpSpPr>
          <p:cxnSp>
            <p:nvCxnSpPr>
              <p:cNvPr id="65" name="Gerader Verbinder 64">
                <a:extLst>
                  <a:ext uri="{FF2B5EF4-FFF2-40B4-BE49-F238E27FC236}">
                    <a16:creationId xmlns:a16="http://schemas.microsoft.com/office/drawing/2014/main" id="{A283C2BC-ADCB-4686-B92F-49DD699B610D}"/>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id="{C03614CA-20E4-461C-8B07-C939BFB72E28}"/>
                  </a:ext>
                </a:extLst>
              </p:cNvPr>
              <p:cNvSpPr txBox="1"/>
              <p:nvPr/>
            </p:nvSpPr>
            <p:spPr>
              <a:xfrm rot="10800000">
                <a:off x="-615197" y="4346120"/>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cxnSp>
          <p:nvCxnSpPr>
            <p:cNvPr id="61" name="Gerader Verbinder 60">
              <a:extLst>
                <a:ext uri="{FF2B5EF4-FFF2-40B4-BE49-F238E27FC236}">
                  <a16:creationId xmlns:a16="http://schemas.microsoft.com/office/drawing/2014/main" id="{664268DC-D962-4CCE-9B3A-8E490709CE6C}"/>
                </a:ext>
              </a:extLst>
            </p:cNvPr>
            <p:cNvCxnSpPr>
              <a:cxnSpLocks/>
            </p:cNvCxnSpPr>
            <p:nvPr/>
          </p:nvCxnSpPr>
          <p:spPr>
            <a:xfrm rot="16200000">
              <a:off x="5890022" y="7150480"/>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2" name="Gruppieren 61">
              <a:extLst>
                <a:ext uri="{FF2B5EF4-FFF2-40B4-BE49-F238E27FC236}">
                  <a16:creationId xmlns:a16="http://schemas.microsoft.com/office/drawing/2014/main" id="{BA562E17-33AB-4950-A73C-23DB7258315E}"/>
                </a:ext>
              </a:extLst>
            </p:cNvPr>
            <p:cNvGrpSpPr/>
            <p:nvPr/>
          </p:nvGrpSpPr>
          <p:grpSpPr>
            <a:xfrm rot="16200000">
              <a:off x="11360571" y="7042149"/>
              <a:ext cx="411956" cy="216662"/>
              <a:chOff x="-615197" y="4295013"/>
              <a:chExt cx="411956" cy="216662"/>
            </a:xfrm>
          </p:grpSpPr>
          <p:cxnSp>
            <p:nvCxnSpPr>
              <p:cNvPr id="63" name="Gerader Verbinder 62">
                <a:extLst>
                  <a:ext uri="{FF2B5EF4-FFF2-40B4-BE49-F238E27FC236}">
                    <a16:creationId xmlns:a16="http://schemas.microsoft.com/office/drawing/2014/main" id="{5980CC73-B1B3-400D-B426-6EB953D99264}"/>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Textfeld 63">
                <a:extLst>
                  <a:ext uri="{FF2B5EF4-FFF2-40B4-BE49-F238E27FC236}">
                    <a16:creationId xmlns:a16="http://schemas.microsoft.com/office/drawing/2014/main" id="{5D103127-8A82-4D11-A5CE-BF0E3A73AFFF}"/>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grpSp>
        <p:nvGrpSpPr>
          <p:cNvPr id="89" name="Gruppieren 88">
            <a:extLst>
              <a:ext uri="{FF2B5EF4-FFF2-40B4-BE49-F238E27FC236}">
                <a16:creationId xmlns:a16="http://schemas.microsoft.com/office/drawing/2014/main" id="{5CDD8002-7AD1-416E-B505-410900BC2903}"/>
              </a:ext>
            </a:extLst>
          </p:cNvPr>
          <p:cNvGrpSpPr/>
          <p:nvPr userDrawn="1"/>
        </p:nvGrpSpPr>
        <p:grpSpPr>
          <a:xfrm>
            <a:off x="-697714" y="80201"/>
            <a:ext cx="411956" cy="6729801"/>
            <a:chOff x="-502267" y="80201"/>
            <a:chExt cx="411956" cy="6729801"/>
          </a:xfrm>
        </p:grpSpPr>
        <p:grpSp>
          <p:nvGrpSpPr>
            <p:cNvPr id="106" name="Gruppieren 105">
              <a:extLst>
                <a:ext uri="{FF2B5EF4-FFF2-40B4-BE49-F238E27FC236}">
                  <a16:creationId xmlns:a16="http://schemas.microsoft.com/office/drawing/2014/main" id="{22298FC9-D43F-401F-B1B1-71F1D9452654}"/>
                </a:ext>
              </a:extLst>
            </p:cNvPr>
            <p:cNvGrpSpPr/>
            <p:nvPr/>
          </p:nvGrpSpPr>
          <p:grpSpPr>
            <a:xfrm>
              <a:off x="-502267" y="6593340"/>
              <a:ext cx="411956" cy="216662"/>
              <a:chOff x="-615197" y="4452994"/>
              <a:chExt cx="411956" cy="216662"/>
            </a:xfrm>
          </p:grpSpPr>
          <p:sp>
            <p:nvSpPr>
              <p:cNvPr id="122" name="Textfeld 121">
                <a:extLst>
                  <a:ext uri="{FF2B5EF4-FFF2-40B4-BE49-F238E27FC236}">
                    <a16:creationId xmlns:a16="http://schemas.microsoft.com/office/drawing/2014/main" id="{B2A35812-FBAC-40B1-BB5C-14BE0906D3A6}"/>
                  </a:ext>
                </a:extLst>
              </p:cNvPr>
              <p:cNvSpPr txBox="1"/>
              <p:nvPr/>
            </p:nvSpPr>
            <p:spPr>
              <a:xfrm>
                <a:off x="-615197" y="4452994"/>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92</a:t>
                </a:r>
              </a:p>
            </p:txBody>
          </p:sp>
          <p:cxnSp>
            <p:nvCxnSpPr>
              <p:cNvPr id="123" name="Gerader Verbinder 122">
                <a:extLst>
                  <a:ext uri="{FF2B5EF4-FFF2-40B4-BE49-F238E27FC236}">
                    <a16:creationId xmlns:a16="http://schemas.microsoft.com/office/drawing/2014/main" id="{BBD32DB6-A18D-49E6-873F-487940E302D0}"/>
                  </a:ext>
                </a:extLst>
              </p:cNvPr>
              <p:cNvCxnSpPr>
                <a:cxnSpLocks/>
              </p:cNvCxnSpPr>
              <p:nvPr/>
            </p:nvCxnSpPr>
            <p:spPr>
              <a:xfrm>
                <a:off x="-615197" y="4497389"/>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07" name="Gruppieren 106">
              <a:extLst>
                <a:ext uri="{FF2B5EF4-FFF2-40B4-BE49-F238E27FC236}">
                  <a16:creationId xmlns:a16="http://schemas.microsoft.com/office/drawing/2014/main" id="{14DBCEAA-78E9-491F-9AF2-E2669BB34E3F}"/>
                </a:ext>
              </a:extLst>
            </p:cNvPr>
            <p:cNvGrpSpPr/>
            <p:nvPr/>
          </p:nvGrpSpPr>
          <p:grpSpPr>
            <a:xfrm>
              <a:off x="-502267" y="5876163"/>
              <a:ext cx="411956" cy="216662"/>
              <a:chOff x="-615197" y="4295013"/>
              <a:chExt cx="411956" cy="216662"/>
            </a:xfrm>
          </p:grpSpPr>
          <p:cxnSp>
            <p:nvCxnSpPr>
              <p:cNvPr id="120" name="Gerader Verbinder 119">
                <a:extLst>
                  <a:ext uri="{FF2B5EF4-FFF2-40B4-BE49-F238E27FC236}">
                    <a16:creationId xmlns:a16="http://schemas.microsoft.com/office/drawing/2014/main" id="{E1F04B3A-51E9-4420-81F8-033430342D08}"/>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21" name="Textfeld 120">
                <a:extLst>
                  <a:ext uri="{FF2B5EF4-FFF2-40B4-BE49-F238E27FC236}">
                    <a16:creationId xmlns:a16="http://schemas.microsoft.com/office/drawing/2014/main" id="{26FB21A6-6566-4E54-9F20-79BAEEA2A24F}"/>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7,40</a:t>
                </a:r>
              </a:p>
            </p:txBody>
          </p:sp>
        </p:grpSp>
        <p:grpSp>
          <p:nvGrpSpPr>
            <p:cNvPr id="108" name="Gruppieren 107">
              <a:extLst>
                <a:ext uri="{FF2B5EF4-FFF2-40B4-BE49-F238E27FC236}">
                  <a16:creationId xmlns:a16="http://schemas.microsoft.com/office/drawing/2014/main" id="{CAB92BD1-5C1A-4FE9-A42A-5E490896E829}"/>
                </a:ext>
              </a:extLst>
            </p:cNvPr>
            <p:cNvGrpSpPr/>
            <p:nvPr/>
          </p:nvGrpSpPr>
          <p:grpSpPr>
            <a:xfrm>
              <a:off x="-502267" y="3212338"/>
              <a:ext cx="411956" cy="216662"/>
              <a:chOff x="-615197" y="4295013"/>
              <a:chExt cx="411956" cy="216662"/>
            </a:xfrm>
          </p:grpSpPr>
          <p:cxnSp>
            <p:nvCxnSpPr>
              <p:cNvPr id="118" name="Gerader Verbinder 117">
                <a:extLst>
                  <a:ext uri="{FF2B5EF4-FFF2-40B4-BE49-F238E27FC236}">
                    <a16:creationId xmlns:a16="http://schemas.microsoft.com/office/drawing/2014/main" id="{1359EBEA-50DB-4672-903B-010118452BDB}"/>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9" name="Textfeld 118">
                <a:extLst>
                  <a:ext uri="{FF2B5EF4-FFF2-40B4-BE49-F238E27FC236}">
                    <a16:creationId xmlns:a16="http://schemas.microsoft.com/office/drawing/2014/main" id="{72B1BA01-3E35-4B6D-B278-DEFD6AC4F162}"/>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00</a:t>
                </a:r>
              </a:p>
            </p:txBody>
          </p:sp>
        </p:grpSp>
        <p:grpSp>
          <p:nvGrpSpPr>
            <p:cNvPr id="109" name="Gruppieren 108">
              <a:extLst>
                <a:ext uri="{FF2B5EF4-FFF2-40B4-BE49-F238E27FC236}">
                  <a16:creationId xmlns:a16="http://schemas.microsoft.com/office/drawing/2014/main" id="{0E960B3D-121E-489F-8583-F1A1A12BADC8}"/>
                </a:ext>
              </a:extLst>
            </p:cNvPr>
            <p:cNvGrpSpPr/>
            <p:nvPr/>
          </p:nvGrpSpPr>
          <p:grpSpPr>
            <a:xfrm>
              <a:off x="-502267" y="835851"/>
              <a:ext cx="411956" cy="216662"/>
              <a:chOff x="-615197" y="4295013"/>
              <a:chExt cx="411956" cy="216662"/>
            </a:xfrm>
          </p:grpSpPr>
          <p:cxnSp>
            <p:nvCxnSpPr>
              <p:cNvPr id="116" name="Gerader Verbinder 115">
                <a:extLst>
                  <a:ext uri="{FF2B5EF4-FFF2-40B4-BE49-F238E27FC236}">
                    <a16:creationId xmlns:a16="http://schemas.microsoft.com/office/drawing/2014/main" id="{DDC265A6-1155-4DAB-B5FD-05C71CEACAEA}"/>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7" name="Textfeld 116">
                <a:extLst>
                  <a:ext uri="{FF2B5EF4-FFF2-40B4-BE49-F238E27FC236}">
                    <a16:creationId xmlns:a16="http://schemas.microsoft.com/office/drawing/2014/main" id="{1EDB2519-37D8-4181-B6A1-FBC78D49AF54}"/>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6,60</a:t>
                </a:r>
              </a:p>
            </p:txBody>
          </p:sp>
        </p:grpSp>
        <p:grpSp>
          <p:nvGrpSpPr>
            <p:cNvPr id="110" name="Gruppieren 109">
              <a:extLst>
                <a:ext uri="{FF2B5EF4-FFF2-40B4-BE49-F238E27FC236}">
                  <a16:creationId xmlns:a16="http://schemas.microsoft.com/office/drawing/2014/main" id="{E7D6D417-2C0A-4171-9090-79BEC182C0E0}"/>
                </a:ext>
              </a:extLst>
            </p:cNvPr>
            <p:cNvGrpSpPr/>
            <p:nvPr/>
          </p:nvGrpSpPr>
          <p:grpSpPr>
            <a:xfrm>
              <a:off x="-502267" y="1412113"/>
              <a:ext cx="411956" cy="216662"/>
              <a:chOff x="-615197" y="4295013"/>
              <a:chExt cx="411956" cy="216662"/>
            </a:xfrm>
          </p:grpSpPr>
          <p:cxnSp>
            <p:nvCxnSpPr>
              <p:cNvPr id="114" name="Gerader Verbinder 113">
                <a:extLst>
                  <a:ext uri="{FF2B5EF4-FFF2-40B4-BE49-F238E27FC236}">
                    <a16:creationId xmlns:a16="http://schemas.microsoft.com/office/drawing/2014/main" id="{2FE163FB-290C-440B-A523-B05DE7CDE010}"/>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5" name="Textfeld 114">
                <a:extLst>
                  <a:ext uri="{FF2B5EF4-FFF2-40B4-BE49-F238E27FC236}">
                    <a16:creationId xmlns:a16="http://schemas.microsoft.com/office/drawing/2014/main" id="{EF1AABF4-52E2-4E0A-AF0B-7DD96FF76017}"/>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5,00</a:t>
                </a:r>
              </a:p>
            </p:txBody>
          </p:sp>
        </p:grpSp>
        <p:grpSp>
          <p:nvGrpSpPr>
            <p:cNvPr id="111" name="Gruppieren 110">
              <a:extLst>
                <a:ext uri="{FF2B5EF4-FFF2-40B4-BE49-F238E27FC236}">
                  <a16:creationId xmlns:a16="http://schemas.microsoft.com/office/drawing/2014/main" id="{9031660F-3F40-42E2-A9B2-8B22C61D7700}"/>
                </a:ext>
              </a:extLst>
            </p:cNvPr>
            <p:cNvGrpSpPr/>
            <p:nvPr/>
          </p:nvGrpSpPr>
          <p:grpSpPr>
            <a:xfrm>
              <a:off x="-502267" y="80201"/>
              <a:ext cx="411956" cy="216662"/>
              <a:chOff x="-615197" y="4258501"/>
              <a:chExt cx="411956" cy="216662"/>
            </a:xfrm>
          </p:grpSpPr>
          <p:cxnSp>
            <p:nvCxnSpPr>
              <p:cNvPr id="112" name="Gerader Verbinder 111">
                <a:extLst>
                  <a:ext uri="{FF2B5EF4-FFF2-40B4-BE49-F238E27FC236}">
                    <a16:creationId xmlns:a16="http://schemas.microsoft.com/office/drawing/2014/main" id="{CE78153C-4DD5-40DA-941B-BF81D7569DDB}"/>
                  </a:ext>
                </a:extLst>
              </p:cNvPr>
              <p:cNvCxnSpPr>
                <a:cxnSpLocks/>
              </p:cNvCxnSpPr>
              <p:nvPr/>
            </p:nvCxnSpPr>
            <p:spPr>
              <a:xfrm>
                <a:off x="-615197" y="4475163"/>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BE5BC182-797A-42A9-A488-DF25F3387444}"/>
                  </a:ext>
                </a:extLst>
              </p:cNvPr>
              <p:cNvSpPr txBox="1"/>
              <p:nvPr/>
            </p:nvSpPr>
            <p:spPr>
              <a:xfrm>
                <a:off x="-615197" y="4258501"/>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70</a:t>
                </a:r>
              </a:p>
            </p:txBody>
          </p:sp>
        </p:grpSp>
      </p:grpSp>
      <p:pic>
        <p:nvPicPr>
          <p:cNvPr id="4" name="Grafik 3">
            <a:extLst>
              <a:ext uri="{FF2B5EF4-FFF2-40B4-BE49-F238E27FC236}">
                <a16:creationId xmlns:a16="http://schemas.microsoft.com/office/drawing/2014/main" id="{991A978D-32DF-E272-AB92-63C3D247E88B}"/>
              </a:ext>
            </a:extLst>
          </p:cNvPr>
          <p:cNvPicPr>
            <a:picLocks noChangeAspect="1"/>
          </p:cNvPicPr>
          <p:nvPr userDrawn="1"/>
        </p:nvPicPr>
        <p:blipFill>
          <a:blip r:embed="rId2">
            <a:extLst>
              <a:ext uri="{28A0092B-C50C-407E-A947-70E740481C1C}">
                <a14:useLocalDpi xmlns:a14="http://schemas.microsoft.com/office/drawing/2010/main" val="0"/>
              </a:ext>
            </a:extLst>
          </a:blip>
          <a:srcRect l="11980" t="27160" r="12453" b="26378"/>
          <a:stretch/>
        </p:blipFill>
        <p:spPr>
          <a:xfrm>
            <a:off x="9262569" y="261978"/>
            <a:ext cx="2681864" cy="661126"/>
          </a:xfrm>
          <a:prstGeom prst="rect">
            <a:avLst/>
          </a:prstGeom>
        </p:spPr>
      </p:pic>
    </p:spTree>
    <p:extLst>
      <p:ext uri="{BB962C8B-B14F-4D97-AF65-F5344CB8AC3E}">
        <p14:creationId xmlns:p14="http://schemas.microsoft.com/office/powerpoint/2010/main" val="37475790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4B9398-63F1-43FA-8A33-77C3452B60D5}"/>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9974D093-D852-413F-AFBB-01A5E5A5264A}"/>
              </a:ext>
            </a:extLst>
          </p:cNvPr>
          <p:cNvSpPr>
            <a:spLocks noGrp="1"/>
          </p:cNvSpPr>
          <p:nvPr>
            <p:ph type="dt" sz="half" idx="10"/>
          </p:nvPr>
        </p:nvSpPr>
        <p:spPr/>
        <p:txBody>
          <a:bodyPr/>
          <a:lstStyle/>
          <a:p>
            <a:fld id="{702FABD3-5069-4195-9AAA-8016D1AB4489}" type="datetime4">
              <a:rPr lang="de-DE" smtClean="0"/>
              <a:t>17. Februar 2025</a:t>
            </a:fld>
            <a:endParaRPr lang="de-DE"/>
          </a:p>
        </p:txBody>
      </p:sp>
      <p:sp>
        <p:nvSpPr>
          <p:cNvPr id="4" name="Fußzeilenplatzhalter 3">
            <a:extLst>
              <a:ext uri="{FF2B5EF4-FFF2-40B4-BE49-F238E27FC236}">
                <a16:creationId xmlns:a16="http://schemas.microsoft.com/office/drawing/2014/main" id="{5AD4E05E-7350-4974-BC18-3BA7566FCA80}"/>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2DC596C5-2603-484C-8636-1D1B68E7C3E8}"/>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22982060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81714DB-9690-4B9C-AE71-D69C194A8565}"/>
              </a:ext>
            </a:extLst>
          </p:cNvPr>
          <p:cNvSpPr>
            <a:spLocks noGrp="1"/>
          </p:cNvSpPr>
          <p:nvPr>
            <p:ph type="dt" sz="half" idx="10"/>
          </p:nvPr>
        </p:nvSpPr>
        <p:spPr/>
        <p:txBody>
          <a:bodyPr/>
          <a:lstStyle/>
          <a:p>
            <a:fld id="{AB8FEBE3-C9EC-4CCE-B552-6508001DE3C7}" type="datetime4">
              <a:rPr lang="de-DE" smtClean="0"/>
              <a:t>17. Februar 2025</a:t>
            </a:fld>
            <a:endParaRPr lang="de-DE"/>
          </a:p>
        </p:txBody>
      </p:sp>
      <p:sp>
        <p:nvSpPr>
          <p:cNvPr id="3" name="Fußzeilenplatzhalter 2">
            <a:extLst>
              <a:ext uri="{FF2B5EF4-FFF2-40B4-BE49-F238E27FC236}">
                <a16:creationId xmlns:a16="http://schemas.microsoft.com/office/drawing/2014/main" id="{446C72EA-DE60-466F-AE20-8773B06AD3B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F84CBC0E-37BD-40AE-98B2-59274338CA38}"/>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34042860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6D2307-1BB1-4D6C-A036-CD30D42B7F9B}"/>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96F6C89B-561E-4500-84E2-B35A914F6C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C301CC53-78F7-4D58-BDA7-841FBE244DD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97156A7-1F4A-44B4-81C3-B22157C179E0}"/>
              </a:ext>
            </a:extLst>
          </p:cNvPr>
          <p:cNvSpPr>
            <a:spLocks noGrp="1"/>
          </p:cNvSpPr>
          <p:nvPr>
            <p:ph type="dt" sz="half" idx="10"/>
          </p:nvPr>
        </p:nvSpPr>
        <p:spPr/>
        <p:txBody>
          <a:bodyPr/>
          <a:lstStyle/>
          <a:p>
            <a:fld id="{D67AFFC4-A85B-40D8-815C-2736C44950C1}" type="datetime4">
              <a:rPr lang="de-DE" smtClean="0"/>
              <a:t>17. Februar 2025</a:t>
            </a:fld>
            <a:endParaRPr lang="de-DE"/>
          </a:p>
        </p:txBody>
      </p:sp>
      <p:sp>
        <p:nvSpPr>
          <p:cNvPr id="6" name="Fußzeilenplatzhalter 5">
            <a:extLst>
              <a:ext uri="{FF2B5EF4-FFF2-40B4-BE49-F238E27FC236}">
                <a16:creationId xmlns:a16="http://schemas.microsoft.com/office/drawing/2014/main" id="{0A7E7222-50EF-4776-B29A-D45DB2217ECB}"/>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CFEBCBE-640E-4628-A4F1-E20F09EFBB76}"/>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19103361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A8C782-4265-4F8B-93FA-7CF8BE7F406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5E05E7B-42D8-4BA6-A5FA-1CD2B0D917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57FDADFA-A26F-45D8-8103-AD4B63F3D5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B7C7AD2-69E3-463C-9A6D-9BFBC2DDC899}"/>
              </a:ext>
            </a:extLst>
          </p:cNvPr>
          <p:cNvSpPr>
            <a:spLocks noGrp="1"/>
          </p:cNvSpPr>
          <p:nvPr>
            <p:ph type="dt" sz="half" idx="10"/>
          </p:nvPr>
        </p:nvSpPr>
        <p:spPr/>
        <p:txBody>
          <a:bodyPr/>
          <a:lstStyle/>
          <a:p>
            <a:fld id="{0C618044-4876-4979-959F-D033556A73FB}" type="datetime4">
              <a:rPr lang="de-DE" smtClean="0"/>
              <a:t>17. Februar 2025</a:t>
            </a:fld>
            <a:endParaRPr lang="de-DE"/>
          </a:p>
        </p:txBody>
      </p:sp>
      <p:sp>
        <p:nvSpPr>
          <p:cNvPr id="6" name="Fußzeilenplatzhalter 5">
            <a:extLst>
              <a:ext uri="{FF2B5EF4-FFF2-40B4-BE49-F238E27FC236}">
                <a16:creationId xmlns:a16="http://schemas.microsoft.com/office/drawing/2014/main" id="{55FB86C2-F937-4060-A604-CFACE76110D8}"/>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087A6F5E-3BFB-40B2-B004-A2E1BE0C9F7E}"/>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18233553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4C8553-049C-4B6E-AEB5-E7FFA56993E0}"/>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1DFCB248-C750-4805-B315-6A8A12EDC603}"/>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BB543F2A-EAA1-48CF-BA39-62E89142DB9F}"/>
              </a:ext>
            </a:extLst>
          </p:cNvPr>
          <p:cNvSpPr>
            <a:spLocks noGrp="1"/>
          </p:cNvSpPr>
          <p:nvPr>
            <p:ph type="dt" sz="half" idx="10"/>
          </p:nvPr>
        </p:nvSpPr>
        <p:spPr/>
        <p:txBody>
          <a:bodyPr/>
          <a:lstStyle/>
          <a:p>
            <a:fld id="{72791E3A-FFA6-4D9B-B566-B93557A04D79}" type="datetime4">
              <a:rPr lang="de-DE" smtClean="0"/>
              <a:t>17. Februar 2025</a:t>
            </a:fld>
            <a:endParaRPr lang="de-DE"/>
          </a:p>
        </p:txBody>
      </p:sp>
      <p:sp>
        <p:nvSpPr>
          <p:cNvPr id="5" name="Fußzeilenplatzhalter 4">
            <a:extLst>
              <a:ext uri="{FF2B5EF4-FFF2-40B4-BE49-F238E27FC236}">
                <a16:creationId xmlns:a16="http://schemas.microsoft.com/office/drawing/2014/main" id="{C8E384F6-0AFA-4F60-B106-014C554609B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D352746-02A0-4E10-9E38-06B590D0A5BB}"/>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31156638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69C763DD-34E5-402E-8080-C9A589B0FF84}"/>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2514266B-F91F-4BE9-BB03-B360EB22977B}"/>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199DCB2-0AF4-47D6-AADA-E7AD42265A7F}"/>
              </a:ext>
            </a:extLst>
          </p:cNvPr>
          <p:cNvSpPr>
            <a:spLocks noGrp="1"/>
          </p:cNvSpPr>
          <p:nvPr>
            <p:ph type="dt" sz="half" idx="10"/>
          </p:nvPr>
        </p:nvSpPr>
        <p:spPr/>
        <p:txBody>
          <a:bodyPr/>
          <a:lstStyle/>
          <a:p>
            <a:fld id="{4A6C71D2-62CE-450F-8772-B6759F3C0EFD}" type="datetime4">
              <a:rPr lang="de-DE" smtClean="0"/>
              <a:t>17. Februar 2025</a:t>
            </a:fld>
            <a:endParaRPr lang="de-DE"/>
          </a:p>
        </p:txBody>
      </p:sp>
      <p:sp>
        <p:nvSpPr>
          <p:cNvPr id="5" name="Fußzeilenplatzhalter 4">
            <a:extLst>
              <a:ext uri="{FF2B5EF4-FFF2-40B4-BE49-F238E27FC236}">
                <a16:creationId xmlns:a16="http://schemas.microsoft.com/office/drawing/2014/main" id="{5EBEB7FA-BE28-4072-BA2C-D90E10735ED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DE06519-F145-4279-B3D6-C1BF2222850B}"/>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22234865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5" name="Textplatzhalter 12">
            <a:extLst>
              <a:ext uri="{FF2B5EF4-FFF2-40B4-BE49-F238E27FC236}">
                <a16:creationId xmlns:a16="http://schemas.microsoft.com/office/drawing/2014/main" id="{F2C8B787-6095-434A-9C6C-78A5108C8B6D}"/>
              </a:ext>
            </a:extLst>
          </p:cNvPr>
          <p:cNvSpPr>
            <a:spLocks noGrp="1"/>
          </p:cNvSpPr>
          <p:nvPr>
            <p:ph type="body" sz="quarter" idx="28" hasCustomPrompt="1"/>
          </p:nvPr>
        </p:nvSpPr>
        <p:spPr>
          <a:xfrm>
            <a:off x="518319" y="1632212"/>
            <a:ext cx="11160000" cy="3600"/>
          </a:xfrm>
          <a:solidFill>
            <a:srgbClr val="D0D0D0"/>
          </a:solidFill>
        </p:spPr>
        <p:txBody>
          <a:bodyPr/>
          <a:lstStyle>
            <a:lvl1pPr>
              <a:defRPr/>
            </a:lvl1pPr>
          </a:lstStyle>
          <a:p>
            <a:pPr lvl="0"/>
            <a:r>
              <a:rPr lang="de-DE"/>
              <a:t> </a:t>
            </a:r>
          </a:p>
        </p:txBody>
      </p:sp>
      <p:sp>
        <p:nvSpPr>
          <p:cNvPr id="36" name="Textplatzhalter 12">
            <a:extLst>
              <a:ext uri="{FF2B5EF4-FFF2-40B4-BE49-F238E27FC236}">
                <a16:creationId xmlns:a16="http://schemas.microsoft.com/office/drawing/2014/main" id="{EDBC396B-1D3D-4E70-9A15-834458035ED8}"/>
              </a:ext>
            </a:extLst>
          </p:cNvPr>
          <p:cNvSpPr>
            <a:spLocks noGrp="1"/>
          </p:cNvSpPr>
          <p:nvPr>
            <p:ph type="body" sz="quarter" idx="29" hasCustomPrompt="1"/>
          </p:nvPr>
        </p:nvSpPr>
        <p:spPr>
          <a:xfrm>
            <a:off x="518319" y="6091175"/>
            <a:ext cx="11160000" cy="3600"/>
          </a:xfrm>
          <a:solidFill>
            <a:srgbClr val="D0D0D0"/>
          </a:solidFill>
        </p:spPr>
        <p:txBody>
          <a:bodyPr/>
          <a:lstStyle>
            <a:lvl1pPr>
              <a:defRPr/>
            </a:lvl1pPr>
          </a:lstStyle>
          <a:p>
            <a:pPr lvl="0"/>
            <a:r>
              <a:rPr lang="de-DE"/>
              <a:t> </a:t>
            </a:r>
          </a:p>
        </p:txBody>
      </p:sp>
      <p:sp>
        <p:nvSpPr>
          <p:cNvPr id="37" name="Textplatzhalter 12">
            <a:extLst>
              <a:ext uri="{FF2B5EF4-FFF2-40B4-BE49-F238E27FC236}">
                <a16:creationId xmlns:a16="http://schemas.microsoft.com/office/drawing/2014/main" id="{16496151-4C59-4CA7-9171-93A5E6FD0E38}"/>
              </a:ext>
            </a:extLst>
          </p:cNvPr>
          <p:cNvSpPr>
            <a:spLocks noGrp="1"/>
          </p:cNvSpPr>
          <p:nvPr>
            <p:ph type="body" sz="quarter" idx="30" hasCustomPrompt="1"/>
          </p:nvPr>
        </p:nvSpPr>
        <p:spPr>
          <a:xfrm>
            <a:off x="518319" y="5454182"/>
            <a:ext cx="11160000" cy="3600"/>
          </a:xfrm>
          <a:solidFill>
            <a:srgbClr val="D0D0D0"/>
          </a:solidFill>
        </p:spPr>
        <p:txBody>
          <a:bodyPr/>
          <a:lstStyle>
            <a:lvl1pPr>
              <a:defRPr/>
            </a:lvl1pPr>
          </a:lstStyle>
          <a:p>
            <a:pPr lvl="0"/>
            <a:r>
              <a:rPr lang="de-DE"/>
              <a:t> </a:t>
            </a:r>
          </a:p>
        </p:txBody>
      </p:sp>
      <p:sp>
        <p:nvSpPr>
          <p:cNvPr id="38" name="Textplatzhalter 12">
            <a:extLst>
              <a:ext uri="{FF2B5EF4-FFF2-40B4-BE49-F238E27FC236}">
                <a16:creationId xmlns:a16="http://schemas.microsoft.com/office/drawing/2014/main" id="{2E872B50-F58D-4049-829B-5D4FC3DD44BB}"/>
              </a:ext>
            </a:extLst>
          </p:cNvPr>
          <p:cNvSpPr>
            <a:spLocks noGrp="1"/>
          </p:cNvSpPr>
          <p:nvPr>
            <p:ph type="body" sz="quarter" idx="31" hasCustomPrompt="1"/>
          </p:nvPr>
        </p:nvSpPr>
        <p:spPr>
          <a:xfrm>
            <a:off x="518319" y="4817187"/>
            <a:ext cx="11160000" cy="3600"/>
          </a:xfrm>
          <a:solidFill>
            <a:srgbClr val="D0D0D0"/>
          </a:solidFill>
        </p:spPr>
        <p:txBody>
          <a:bodyPr/>
          <a:lstStyle>
            <a:lvl1pPr>
              <a:defRPr/>
            </a:lvl1pPr>
          </a:lstStyle>
          <a:p>
            <a:pPr lvl="0"/>
            <a:r>
              <a:rPr lang="de-DE"/>
              <a:t> </a:t>
            </a:r>
          </a:p>
        </p:txBody>
      </p:sp>
      <p:sp>
        <p:nvSpPr>
          <p:cNvPr id="39" name="Textplatzhalter 12">
            <a:extLst>
              <a:ext uri="{FF2B5EF4-FFF2-40B4-BE49-F238E27FC236}">
                <a16:creationId xmlns:a16="http://schemas.microsoft.com/office/drawing/2014/main" id="{365BC96D-ED2D-464E-BC70-A23FF37E8D5D}"/>
              </a:ext>
            </a:extLst>
          </p:cNvPr>
          <p:cNvSpPr>
            <a:spLocks noGrp="1"/>
          </p:cNvSpPr>
          <p:nvPr>
            <p:ph type="body" sz="quarter" idx="32" hasCustomPrompt="1"/>
          </p:nvPr>
        </p:nvSpPr>
        <p:spPr>
          <a:xfrm>
            <a:off x="518319" y="4180192"/>
            <a:ext cx="11160000" cy="3600"/>
          </a:xfrm>
          <a:solidFill>
            <a:srgbClr val="D0D0D0"/>
          </a:solidFill>
        </p:spPr>
        <p:txBody>
          <a:bodyPr/>
          <a:lstStyle>
            <a:lvl1pPr>
              <a:defRPr/>
            </a:lvl1pPr>
          </a:lstStyle>
          <a:p>
            <a:pPr lvl="0"/>
            <a:r>
              <a:rPr lang="de-DE"/>
              <a:t> </a:t>
            </a:r>
          </a:p>
        </p:txBody>
      </p:sp>
      <p:sp>
        <p:nvSpPr>
          <p:cNvPr id="40" name="Textplatzhalter 12">
            <a:extLst>
              <a:ext uri="{FF2B5EF4-FFF2-40B4-BE49-F238E27FC236}">
                <a16:creationId xmlns:a16="http://schemas.microsoft.com/office/drawing/2014/main" id="{B065DB6D-E88A-4417-88AE-F3BDA7535DFA}"/>
              </a:ext>
            </a:extLst>
          </p:cNvPr>
          <p:cNvSpPr>
            <a:spLocks noGrp="1"/>
          </p:cNvSpPr>
          <p:nvPr>
            <p:ph type="body" sz="quarter" idx="33" hasCustomPrompt="1"/>
          </p:nvPr>
        </p:nvSpPr>
        <p:spPr>
          <a:xfrm>
            <a:off x="518319" y="3543197"/>
            <a:ext cx="11160000" cy="3600"/>
          </a:xfrm>
          <a:solidFill>
            <a:srgbClr val="D0D0D0"/>
          </a:solidFill>
        </p:spPr>
        <p:txBody>
          <a:bodyPr/>
          <a:lstStyle>
            <a:lvl1pPr>
              <a:defRPr/>
            </a:lvl1pPr>
          </a:lstStyle>
          <a:p>
            <a:pPr lvl="0"/>
            <a:r>
              <a:rPr lang="de-DE"/>
              <a:t> </a:t>
            </a:r>
          </a:p>
        </p:txBody>
      </p:sp>
      <p:sp>
        <p:nvSpPr>
          <p:cNvPr id="41" name="Textplatzhalter 12">
            <a:extLst>
              <a:ext uri="{FF2B5EF4-FFF2-40B4-BE49-F238E27FC236}">
                <a16:creationId xmlns:a16="http://schemas.microsoft.com/office/drawing/2014/main" id="{AEB6ADF8-03FE-4219-AC3D-60860EB9B1E0}"/>
              </a:ext>
            </a:extLst>
          </p:cNvPr>
          <p:cNvSpPr>
            <a:spLocks noGrp="1"/>
          </p:cNvSpPr>
          <p:nvPr>
            <p:ph type="body" sz="quarter" idx="34" hasCustomPrompt="1"/>
          </p:nvPr>
        </p:nvSpPr>
        <p:spPr>
          <a:xfrm>
            <a:off x="518319" y="2906202"/>
            <a:ext cx="11160000" cy="3600"/>
          </a:xfrm>
          <a:solidFill>
            <a:srgbClr val="D0D0D0"/>
          </a:solidFill>
        </p:spPr>
        <p:txBody>
          <a:bodyPr/>
          <a:lstStyle>
            <a:lvl1pPr>
              <a:defRPr/>
            </a:lvl1pPr>
          </a:lstStyle>
          <a:p>
            <a:pPr lvl="0"/>
            <a:r>
              <a:rPr lang="de-DE"/>
              <a:t> </a:t>
            </a:r>
          </a:p>
        </p:txBody>
      </p:sp>
      <p:sp>
        <p:nvSpPr>
          <p:cNvPr id="42" name="Textplatzhalter 12">
            <a:extLst>
              <a:ext uri="{FF2B5EF4-FFF2-40B4-BE49-F238E27FC236}">
                <a16:creationId xmlns:a16="http://schemas.microsoft.com/office/drawing/2014/main" id="{39606005-B38E-44BD-9756-AFE8B8BBACA0}"/>
              </a:ext>
            </a:extLst>
          </p:cNvPr>
          <p:cNvSpPr>
            <a:spLocks noGrp="1"/>
          </p:cNvSpPr>
          <p:nvPr>
            <p:ph type="body" sz="quarter" idx="35" hasCustomPrompt="1"/>
          </p:nvPr>
        </p:nvSpPr>
        <p:spPr>
          <a:xfrm>
            <a:off x="518319" y="2269207"/>
            <a:ext cx="11160000" cy="3600"/>
          </a:xfrm>
          <a:solidFill>
            <a:srgbClr val="D0D0D0"/>
          </a:solidFill>
        </p:spPr>
        <p:txBody>
          <a:bodyPr/>
          <a:lstStyle>
            <a:lvl1pPr>
              <a:defRPr/>
            </a:lvl1pPr>
          </a:lstStyle>
          <a:p>
            <a:pPr lvl="0"/>
            <a:r>
              <a:rPr lang="de-DE"/>
              <a:t> </a:t>
            </a:r>
          </a:p>
        </p:txBody>
      </p:sp>
      <p:sp>
        <p:nvSpPr>
          <p:cNvPr id="33" name="Textplatzhalter 12">
            <a:extLst>
              <a:ext uri="{FF2B5EF4-FFF2-40B4-BE49-F238E27FC236}">
                <a16:creationId xmlns:a16="http://schemas.microsoft.com/office/drawing/2014/main" id="{552BBB7B-042B-4EB3-835B-819E155C7D34}"/>
              </a:ext>
            </a:extLst>
          </p:cNvPr>
          <p:cNvSpPr>
            <a:spLocks noGrp="1"/>
          </p:cNvSpPr>
          <p:nvPr>
            <p:ph type="body" sz="quarter" idx="14" hasCustomPrompt="1"/>
          </p:nvPr>
        </p:nvSpPr>
        <p:spPr>
          <a:xfrm>
            <a:off x="0" y="1670595"/>
            <a:ext cx="946800" cy="539942"/>
          </a:xfrm>
          <a:noFill/>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1</a:t>
            </a:r>
          </a:p>
        </p:txBody>
      </p:sp>
      <p:sp>
        <p:nvSpPr>
          <p:cNvPr id="43" name="Textplatzhalter 12">
            <a:extLst>
              <a:ext uri="{FF2B5EF4-FFF2-40B4-BE49-F238E27FC236}">
                <a16:creationId xmlns:a16="http://schemas.microsoft.com/office/drawing/2014/main" id="{794860D3-268B-4144-8AB0-52365C4C9C25}"/>
              </a:ext>
            </a:extLst>
          </p:cNvPr>
          <p:cNvSpPr>
            <a:spLocks noGrp="1"/>
          </p:cNvSpPr>
          <p:nvPr>
            <p:ph type="body" sz="quarter" idx="16" hasCustomPrompt="1"/>
          </p:nvPr>
        </p:nvSpPr>
        <p:spPr>
          <a:xfrm>
            <a:off x="0" y="2952545"/>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3</a:t>
            </a:r>
          </a:p>
        </p:txBody>
      </p:sp>
      <p:sp>
        <p:nvSpPr>
          <p:cNvPr id="45" name="Textplatzhalter 12">
            <a:extLst>
              <a:ext uri="{FF2B5EF4-FFF2-40B4-BE49-F238E27FC236}">
                <a16:creationId xmlns:a16="http://schemas.microsoft.com/office/drawing/2014/main" id="{7227C327-0142-4EA6-AEFB-173EFCBAE0C6}"/>
              </a:ext>
            </a:extLst>
          </p:cNvPr>
          <p:cNvSpPr>
            <a:spLocks noGrp="1"/>
          </p:cNvSpPr>
          <p:nvPr>
            <p:ph type="body" sz="quarter" idx="17" hasCustomPrompt="1"/>
          </p:nvPr>
        </p:nvSpPr>
        <p:spPr>
          <a:xfrm>
            <a:off x="0" y="3593520"/>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4</a:t>
            </a:r>
          </a:p>
        </p:txBody>
      </p:sp>
      <p:sp>
        <p:nvSpPr>
          <p:cNvPr id="46" name="Textplatzhalter 12">
            <a:extLst>
              <a:ext uri="{FF2B5EF4-FFF2-40B4-BE49-F238E27FC236}">
                <a16:creationId xmlns:a16="http://schemas.microsoft.com/office/drawing/2014/main" id="{C5438030-4C98-4CAF-B3C0-CE976BED34CC}"/>
              </a:ext>
            </a:extLst>
          </p:cNvPr>
          <p:cNvSpPr>
            <a:spLocks noGrp="1"/>
          </p:cNvSpPr>
          <p:nvPr>
            <p:ph type="body" sz="quarter" idx="18" hasCustomPrompt="1"/>
          </p:nvPr>
        </p:nvSpPr>
        <p:spPr>
          <a:xfrm>
            <a:off x="0" y="4234495"/>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5</a:t>
            </a:r>
          </a:p>
        </p:txBody>
      </p:sp>
      <p:sp>
        <p:nvSpPr>
          <p:cNvPr id="47" name="Textplatzhalter 12">
            <a:extLst>
              <a:ext uri="{FF2B5EF4-FFF2-40B4-BE49-F238E27FC236}">
                <a16:creationId xmlns:a16="http://schemas.microsoft.com/office/drawing/2014/main" id="{16E2D676-DB17-4B9A-AA0D-A3F245644FB6}"/>
              </a:ext>
            </a:extLst>
          </p:cNvPr>
          <p:cNvSpPr>
            <a:spLocks noGrp="1"/>
          </p:cNvSpPr>
          <p:nvPr>
            <p:ph type="body" sz="quarter" idx="19" hasCustomPrompt="1"/>
          </p:nvPr>
        </p:nvSpPr>
        <p:spPr>
          <a:xfrm>
            <a:off x="0" y="4875470"/>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6</a:t>
            </a:r>
          </a:p>
        </p:txBody>
      </p:sp>
      <p:sp>
        <p:nvSpPr>
          <p:cNvPr id="48" name="Textplatzhalter 12">
            <a:extLst>
              <a:ext uri="{FF2B5EF4-FFF2-40B4-BE49-F238E27FC236}">
                <a16:creationId xmlns:a16="http://schemas.microsoft.com/office/drawing/2014/main" id="{79FCABAB-1D64-41D4-9EB2-F6F60A885028}"/>
              </a:ext>
            </a:extLst>
          </p:cNvPr>
          <p:cNvSpPr>
            <a:spLocks noGrp="1"/>
          </p:cNvSpPr>
          <p:nvPr>
            <p:ph type="body" sz="quarter" idx="20" hasCustomPrompt="1"/>
          </p:nvPr>
        </p:nvSpPr>
        <p:spPr>
          <a:xfrm>
            <a:off x="0" y="5516447"/>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7</a:t>
            </a:r>
          </a:p>
        </p:txBody>
      </p:sp>
      <p:sp>
        <p:nvSpPr>
          <p:cNvPr id="49" name="Textplatzhalter 12">
            <a:extLst>
              <a:ext uri="{FF2B5EF4-FFF2-40B4-BE49-F238E27FC236}">
                <a16:creationId xmlns:a16="http://schemas.microsoft.com/office/drawing/2014/main" id="{BBCB46D3-00EC-450B-A636-FB52817DBCD1}"/>
              </a:ext>
            </a:extLst>
          </p:cNvPr>
          <p:cNvSpPr>
            <a:spLocks noGrp="1"/>
          </p:cNvSpPr>
          <p:nvPr>
            <p:ph type="body" sz="quarter" idx="44" hasCustomPrompt="1"/>
          </p:nvPr>
        </p:nvSpPr>
        <p:spPr>
          <a:xfrm>
            <a:off x="0" y="2311570"/>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2</a:t>
            </a:r>
          </a:p>
        </p:txBody>
      </p:sp>
      <p:sp>
        <p:nvSpPr>
          <p:cNvPr id="6" name="Titel 5">
            <a:extLst>
              <a:ext uri="{FF2B5EF4-FFF2-40B4-BE49-F238E27FC236}">
                <a16:creationId xmlns:a16="http://schemas.microsoft.com/office/drawing/2014/main" id="{5008D678-508B-4EAC-8996-9B20ADAA3BC3}"/>
              </a:ext>
            </a:extLst>
          </p:cNvPr>
          <p:cNvSpPr>
            <a:spLocks noGrp="1"/>
          </p:cNvSpPr>
          <p:nvPr>
            <p:ph type="title"/>
          </p:nvPr>
        </p:nvSpPr>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44" name="Gerade Verbindung 71">
            <a:extLst>
              <a:ext uri="{FF2B5EF4-FFF2-40B4-BE49-F238E27FC236}">
                <a16:creationId xmlns:a16="http://schemas.microsoft.com/office/drawing/2014/main" id="{25F92CEA-1B2A-4107-853E-0010403CE96B}"/>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28" name="Textplatzhalter 27">
            <a:extLst>
              <a:ext uri="{FF2B5EF4-FFF2-40B4-BE49-F238E27FC236}">
                <a16:creationId xmlns:a16="http://schemas.microsoft.com/office/drawing/2014/main" id="{10C57EE4-17A8-41AE-AD8F-0C906241B73B}"/>
              </a:ext>
            </a:extLst>
          </p:cNvPr>
          <p:cNvSpPr>
            <a:spLocks noGrp="1"/>
          </p:cNvSpPr>
          <p:nvPr>
            <p:ph type="body" sz="quarter" idx="21" hasCustomPrompt="1"/>
          </p:nvPr>
        </p:nvSpPr>
        <p:spPr>
          <a:xfrm>
            <a:off x="1108694" y="1713197"/>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29" name="Textplatzhalter 27">
            <a:extLst>
              <a:ext uri="{FF2B5EF4-FFF2-40B4-BE49-F238E27FC236}">
                <a16:creationId xmlns:a16="http://schemas.microsoft.com/office/drawing/2014/main" id="{EDC138DF-81E8-468E-BE50-5A359E245AF8}"/>
              </a:ext>
            </a:extLst>
          </p:cNvPr>
          <p:cNvSpPr>
            <a:spLocks noGrp="1"/>
          </p:cNvSpPr>
          <p:nvPr>
            <p:ph type="body" sz="quarter" idx="22" hasCustomPrompt="1"/>
          </p:nvPr>
        </p:nvSpPr>
        <p:spPr>
          <a:xfrm>
            <a:off x="1108694" y="5559049"/>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30" name="Textplatzhalter 27">
            <a:extLst>
              <a:ext uri="{FF2B5EF4-FFF2-40B4-BE49-F238E27FC236}">
                <a16:creationId xmlns:a16="http://schemas.microsoft.com/office/drawing/2014/main" id="{E67A7442-A1B4-49EA-9268-A28469018AD8}"/>
              </a:ext>
            </a:extLst>
          </p:cNvPr>
          <p:cNvSpPr>
            <a:spLocks noGrp="1"/>
          </p:cNvSpPr>
          <p:nvPr>
            <p:ph type="body" sz="quarter" idx="23" hasCustomPrompt="1"/>
          </p:nvPr>
        </p:nvSpPr>
        <p:spPr>
          <a:xfrm>
            <a:off x="1108694" y="491807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31" name="Textplatzhalter 27">
            <a:extLst>
              <a:ext uri="{FF2B5EF4-FFF2-40B4-BE49-F238E27FC236}">
                <a16:creationId xmlns:a16="http://schemas.microsoft.com/office/drawing/2014/main" id="{9B7A6C1A-6494-4115-8E54-99DC0DB45D22}"/>
              </a:ext>
            </a:extLst>
          </p:cNvPr>
          <p:cNvSpPr>
            <a:spLocks noGrp="1"/>
          </p:cNvSpPr>
          <p:nvPr>
            <p:ph type="body" sz="quarter" idx="24" hasCustomPrompt="1"/>
          </p:nvPr>
        </p:nvSpPr>
        <p:spPr>
          <a:xfrm>
            <a:off x="1108694" y="4277097"/>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32" name="Textplatzhalter 27">
            <a:extLst>
              <a:ext uri="{FF2B5EF4-FFF2-40B4-BE49-F238E27FC236}">
                <a16:creationId xmlns:a16="http://schemas.microsoft.com/office/drawing/2014/main" id="{9D8685BE-5979-43B0-AC0C-740549877785}"/>
              </a:ext>
            </a:extLst>
          </p:cNvPr>
          <p:cNvSpPr>
            <a:spLocks noGrp="1"/>
          </p:cNvSpPr>
          <p:nvPr>
            <p:ph type="body" sz="quarter" idx="25" hasCustomPrompt="1"/>
          </p:nvPr>
        </p:nvSpPr>
        <p:spPr>
          <a:xfrm>
            <a:off x="1108694" y="363612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34" name="Textplatzhalter 27">
            <a:extLst>
              <a:ext uri="{FF2B5EF4-FFF2-40B4-BE49-F238E27FC236}">
                <a16:creationId xmlns:a16="http://schemas.microsoft.com/office/drawing/2014/main" id="{F5438DE9-D033-4100-9761-E4FFFC202FE2}"/>
              </a:ext>
            </a:extLst>
          </p:cNvPr>
          <p:cNvSpPr>
            <a:spLocks noGrp="1"/>
          </p:cNvSpPr>
          <p:nvPr>
            <p:ph type="body" sz="quarter" idx="27" hasCustomPrompt="1"/>
          </p:nvPr>
        </p:nvSpPr>
        <p:spPr>
          <a:xfrm>
            <a:off x="1108694" y="235417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54" name="Textplatzhalter 8">
            <a:extLst>
              <a:ext uri="{FF2B5EF4-FFF2-40B4-BE49-F238E27FC236}">
                <a16:creationId xmlns:a16="http://schemas.microsoft.com/office/drawing/2014/main" id="{BB278DD4-3FCE-4782-AF12-45EC18329176}"/>
              </a:ext>
            </a:extLst>
          </p:cNvPr>
          <p:cNvSpPr>
            <a:spLocks noGrp="1"/>
          </p:cNvSpPr>
          <p:nvPr>
            <p:ph type="body" sz="quarter" idx="36"/>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55" name="Textplatzhalter 27">
            <a:extLst>
              <a:ext uri="{FF2B5EF4-FFF2-40B4-BE49-F238E27FC236}">
                <a16:creationId xmlns:a16="http://schemas.microsoft.com/office/drawing/2014/main" id="{40334521-65D4-4254-A9E2-9118257ED994}"/>
              </a:ext>
            </a:extLst>
          </p:cNvPr>
          <p:cNvSpPr>
            <a:spLocks noGrp="1"/>
          </p:cNvSpPr>
          <p:nvPr>
            <p:ph type="body" sz="quarter" idx="40" hasCustomPrompt="1"/>
          </p:nvPr>
        </p:nvSpPr>
        <p:spPr>
          <a:xfrm>
            <a:off x="1108694" y="2995147"/>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3" name="Datumsplatzhalter 2">
            <a:extLst>
              <a:ext uri="{FF2B5EF4-FFF2-40B4-BE49-F238E27FC236}">
                <a16:creationId xmlns:a16="http://schemas.microsoft.com/office/drawing/2014/main" id="{B9366EC2-D105-48A7-B8E4-3E5DD841504A}"/>
              </a:ext>
            </a:extLst>
          </p:cNvPr>
          <p:cNvSpPr>
            <a:spLocks noGrp="1"/>
          </p:cNvSpPr>
          <p:nvPr>
            <p:ph type="dt" sz="half" idx="41"/>
          </p:nvPr>
        </p:nvSpPr>
        <p:spPr/>
        <p:txBody>
          <a:bodyPr/>
          <a:lstStyle/>
          <a:p>
            <a:fld id="{476DA324-C85F-47E6-B523-9F944315266C}" type="datetime4">
              <a:rPr lang="de-DE" smtClean="0"/>
              <a:t>17. Februar 2025</a:t>
            </a:fld>
            <a:endParaRPr lang="de-DE"/>
          </a:p>
        </p:txBody>
      </p:sp>
      <p:sp>
        <p:nvSpPr>
          <p:cNvPr id="5" name="Foliennummernplatzhalter 4">
            <a:extLst>
              <a:ext uri="{FF2B5EF4-FFF2-40B4-BE49-F238E27FC236}">
                <a16:creationId xmlns:a16="http://schemas.microsoft.com/office/drawing/2014/main" id="{67267479-09D9-4A9B-BD11-49CBF9C1E4A8}"/>
              </a:ext>
            </a:extLst>
          </p:cNvPr>
          <p:cNvSpPr>
            <a:spLocks noGrp="1"/>
          </p:cNvSpPr>
          <p:nvPr>
            <p:ph type="sldNum" sz="quarter" idx="43"/>
          </p:nvPr>
        </p:nvSpPr>
        <p:spPr/>
        <p:txBody>
          <a:bodyPr/>
          <a:lstStyle/>
          <a:p>
            <a:fld id="{C6A4AD45-2621-4550-9DC5-4911F1B5FA4D}" type="slidenum">
              <a:rPr lang="de-DE" smtClean="0"/>
              <a:pPr/>
              <a:t>‹Nr.›</a:t>
            </a:fld>
            <a:endParaRPr lang="de-DE"/>
          </a:p>
        </p:txBody>
      </p:sp>
      <p:sp>
        <p:nvSpPr>
          <p:cNvPr id="50" name="Textplatzhalter 27">
            <a:extLst>
              <a:ext uri="{FF2B5EF4-FFF2-40B4-BE49-F238E27FC236}">
                <a16:creationId xmlns:a16="http://schemas.microsoft.com/office/drawing/2014/main" id="{1AF8F226-D83E-4A8A-A0F2-15D5C1B6E316}"/>
              </a:ext>
            </a:extLst>
          </p:cNvPr>
          <p:cNvSpPr>
            <a:spLocks noGrp="1"/>
          </p:cNvSpPr>
          <p:nvPr>
            <p:ph type="body" sz="quarter" idx="45" hasCustomPrompt="1"/>
          </p:nvPr>
        </p:nvSpPr>
        <p:spPr>
          <a:xfrm>
            <a:off x="7969191" y="1713197"/>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51" name="Textplatzhalter 27">
            <a:extLst>
              <a:ext uri="{FF2B5EF4-FFF2-40B4-BE49-F238E27FC236}">
                <a16:creationId xmlns:a16="http://schemas.microsoft.com/office/drawing/2014/main" id="{6FD107AB-96B0-4BD6-AA8D-8799FA2AFB4B}"/>
              </a:ext>
            </a:extLst>
          </p:cNvPr>
          <p:cNvSpPr>
            <a:spLocks noGrp="1"/>
          </p:cNvSpPr>
          <p:nvPr>
            <p:ph type="body" sz="quarter" idx="46" hasCustomPrompt="1"/>
          </p:nvPr>
        </p:nvSpPr>
        <p:spPr>
          <a:xfrm>
            <a:off x="10509624" y="1713197"/>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52" name="Textplatzhalter 27">
            <a:extLst>
              <a:ext uri="{FF2B5EF4-FFF2-40B4-BE49-F238E27FC236}">
                <a16:creationId xmlns:a16="http://schemas.microsoft.com/office/drawing/2014/main" id="{260CEC10-1DA2-4B47-96EB-E91F197E94C0}"/>
              </a:ext>
            </a:extLst>
          </p:cNvPr>
          <p:cNvSpPr>
            <a:spLocks noGrp="1"/>
          </p:cNvSpPr>
          <p:nvPr>
            <p:ph type="body" sz="quarter" idx="47" hasCustomPrompt="1"/>
          </p:nvPr>
        </p:nvSpPr>
        <p:spPr>
          <a:xfrm>
            <a:off x="7969191" y="5559049"/>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53" name="Textplatzhalter 27">
            <a:extLst>
              <a:ext uri="{FF2B5EF4-FFF2-40B4-BE49-F238E27FC236}">
                <a16:creationId xmlns:a16="http://schemas.microsoft.com/office/drawing/2014/main" id="{3CB1FA78-3D03-4648-8CF3-239710E730AB}"/>
              </a:ext>
            </a:extLst>
          </p:cNvPr>
          <p:cNvSpPr>
            <a:spLocks noGrp="1"/>
          </p:cNvSpPr>
          <p:nvPr>
            <p:ph type="body" sz="quarter" idx="48" hasCustomPrompt="1"/>
          </p:nvPr>
        </p:nvSpPr>
        <p:spPr>
          <a:xfrm>
            <a:off x="10509624" y="5559049"/>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56" name="Textplatzhalter 27">
            <a:extLst>
              <a:ext uri="{FF2B5EF4-FFF2-40B4-BE49-F238E27FC236}">
                <a16:creationId xmlns:a16="http://schemas.microsoft.com/office/drawing/2014/main" id="{B8CD5CD3-C498-4463-935E-A1A5B7094D4D}"/>
              </a:ext>
            </a:extLst>
          </p:cNvPr>
          <p:cNvSpPr>
            <a:spLocks noGrp="1"/>
          </p:cNvSpPr>
          <p:nvPr>
            <p:ph type="body" sz="quarter" idx="49" hasCustomPrompt="1"/>
          </p:nvPr>
        </p:nvSpPr>
        <p:spPr>
          <a:xfrm>
            <a:off x="7969191" y="491807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57" name="Textplatzhalter 27">
            <a:extLst>
              <a:ext uri="{FF2B5EF4-FFF2-40B4-BE49-F238E27FC236}">
                <a16:creationId xmlns:a16="http://schemas.microsoft.com/office/drawing/2014/main" id="{F12392E6-1DEE-4FFE-AACA-C660C921C8EE}"/>
              </a:ext>
            </a:extLst>
          </p:cNvPr>
          <p:cNvSpPr>
            <a:spLocks noGrp="1"/>
          </p:cNvSpPr>
          <p:nvPr>
            <p:ph type="body" sz="quarter" idx="50" hasCustomPrompt="1"/>
          </p:nvPr>
        </p:nvSpPr>
        <p:spPr>
          <a:xfrm>
            <a:off x="10509624" y="4918072"/>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58" name="Textplatzhalter 27">
            <a:extLst>
              <a:ext uri="{FF2B5EF4-FFF2-40B4-BE49-F238E27FC236}">
                <a16:creationId xmlns:a16="http://schemas.microsoft.com/office/drawing/2014/main" id="{9C2CDE80-05B4-473F-86D1-7AF509E7F16A}"/>
              </a:ext>
            </a:extLst>
          </p:cNvPr>
          <p:cNvSpPr>
            <a:spLocks noGrp="1"/>
          </p:cNvSpPr>
          <p:nvPr>
            <p:ph type="body" sz="quarter" idx="51" hasCustomPrompt="1"/>
          </p:nvPr>
        </p:nvSpPr>
        <p:spPr>
          <a:xfrm>
            <a:off x="7969191" y="4277097"/>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66" name="Textplatzhalter 27">
            <a:extLst>
              <a:ext uri="{FF2B5EF4-FFF2-40B4-BE49-F238E27FC236}">
                <a16:creationId xmlns:a16="http://schemas.microsoft.com/office/drawing/2014/main" id="{6F050946-F4C0-4031-9035-83228F2CD332}"/>
              </a:ext>
            </a:extLst>
          </p:cNvPr>
          <p:cNvSpPr>
            <a:spLocks noGrp="1"/>
          </p:cNvSpPr>
          <p:nvPr>
            <p:ph type="body" sz="quarter" idx="52" hasCustomPrompt="1"/>
          </p:nvPr>
        </p:nvSpPr>
        <p:spPr>
          <a:xfrm>
            <a:off x="10509624" y="4277097"/>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67" name="Textplatzhalter 27">
            <a:extLst>
              <a:ext uri="{FF2B5EF4-FFF2-40B4-BE49-F238E27FC236}">
                <a16:creationId xmlns:a16="http://schemas.microsoft.com/office/drawing/2014/main" id="{67A6646C-34B1-41AF-974A-7701924B8F1A}"/>
              </a:ext>
            </a:extLst>
          </p:cNvPr>
          <p:cNvSpPr>
            <a:spLocks noGrp="1"/>
          </p:cNvSpPr>
          <p:nvPr>
            <p:ph type="body" sz="quarter" idx="53" hasCustomPrompt="1"/>
          </p:nvPr>
        </p:nvSpPr>
        <p:spPr>
          <a:xfrm>
            <a:off x="7969191" y="363612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68" name="Textplatzhalter 27">
            <a:extLst>
              <a:ext uri="{FF2B5EF4-FFF2-40B4-BE49-F238E27FC236}">
                <a16:creationId xmlns:a16="http://schemas.microsoft.com/office/drawing/2014/main" id="{F0A6D2DF-DEFC-4205-A445-87CB0A2F598A}"/>
              </a:ext>
            </a:extLst>
          </p:cNvPr>
          <p:cNvSpPr>
            <a:spLocks noGrp="1"/>
          </p:cNvSpPr>
          <p:nvPr>
            <p:ph type="body" sz="quarter" idx="54" hasCustomPrompt="1"/>
          </p:nvPr>
        </p:nvSpPr>
        <p:spPr>
          <a:xfrm>
            <a:off x="10509624" y="3636122"/>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69" name="Textplatzhalter 27">
            <a:extLst>
              <a:ext uri="{FF2B5EF4-FFF2-40B4-BE49-F238E27FC236}">
                <a16:creationId xmlns:a16="http://schemas.microsoft.com/office/drawing/2014/main" id="{F6E464A8-67B0-4D57-BDEA-D593750802D6}"/>
              </a:ext>
            </a:extLst>
          </p:cNvPr>
          <p:cNvSpPr>
            <a:spLocks noGrp="1"/>
          </p:cNvSpPr>
          <p:nvPr>
            <p:ph type="body" sz="quarter" idx="55" hasCustomPrompt="1"/>
          </p:nvPr>
        </p:nvSpPr>
        <p:spPr>
          <a:xfrm>
            <a:off x="7969191" y="2995147"/>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70" name="Textplatzhalter 27">
            <a:extLst>
              <a:ext uri="{FF2B5EF4-FFF2-40B4-BE49-F238E27FC236}">
                <a16:creationId xmlns:a16="http://schemas.microsoft.com/office/drawing/2014/main" id="{AE18289F-C070-4C49-BD27-4B3B71C4F2BC}"/>
              </a:ext>
            </a:extLst>
          </p:cNvPr>
          <p:cNvSpPr>
            <a:spLocks noGrp="1"/>
          </p:cNvSpPr>
          <p:nvPr>
            <p:ph type="body" sz="quarter" idx="56" hasCustomPrompt="1"/>
          </p:nvPr>
        </p:nvSpPr>
        <p:spPr>
          <a:xfrm>
            <a:off x="10509624" y="2995147"/>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71" name="Textplatzhalter 27">
            <a:extLst>
              <a:ext uri="{FF2B5EF4-FFF2-40B4-BE49-F238E27FC236}">
                <a16:creationId xmlns:a16="http://schemas.microsoft.com/office/drawing/2014/main" id="{513FBBB8-BEE2-4912-8122-8E23A86C57B5}"/>
              </a:ext>
            </a:extLst>
          </p:cNvPr>
          <p:cNvSpPr>
            <a:spLocks noGrp="1"/>
          </p:cNvSpPr>
          <p:nvPr>
            <p:ph type="body" sz="quarter" idx="57" hasCustomPrompt="1"/>
          </p:nvPr>
        </p:nvSpPr>
        <p:spPr>
          <a:xfrm>
            <a:off x="7969191" y="235417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72" name="Textplatzhalter 27">
            <a:extLst>
              <a:ext uri="{FF2B5EF4-FFF2-40B4-BE49-F238E27FC236}">
                <a16:creationId xmlns:a16="http://schemas.microsoft.com/office/drawing/2014/main" id="{A4D1F226-2C6E-442A-954D-E2B74379D677}"/>
              </a:ext>
            </a:extLst>
          </p:cNvPr>
          <p:cNvSpPr>
            <a:spLocks noGrp="1"/>
          </p:cNvSpPr>
          <p:nvPr>
            <p:ph type="body" sz="quarter" idx="58" hasCustomPrompt="1"/>
          </p:nvPr>
        </p:nvSpPr>
        <p:spPr>
          <a:xfrm>
            <a:off x="10509624" y="2354172"/>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Tree>
    <p:extLst>
      <p:ext uri="{BB962C8B-B14F-4D97-AF65-F5344CB8AC3E}">
        <p14:creationId xmlns:p14="http://schemas.microsoft.com/office/powerpoint/2010/main" val="329164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apiteltrenner">
    <p:bg>
      <p:bgPr>
        <a:solidFill>
          <a:schemeClr val="bg2"/>
        </a:solidFill>
        <a:effectLst/>
      </p:bgPr>
    </p:bg>
    <p:spTree>
      <p:nvGrpSpPr>
        <p:cNvPr id="1" name=""/>
        <p:cNvGrpSpPr/>
        <p:nvPr/>
      </p:nvGrpSpPr>
      <p:grpSpPr>
        <a:xfrm>
          <a:off x="0" y="0"/>
          <a:ext cx="0" cy="0"/>
          <a:chOff x="0" y="0"/>
          <a:chExt cx="0" cy="0"/>
        </a:xfrm>
      </p:grpSpPr>
      <p:sp>
        <p:nvSpPr>
          <p:cNvPr id="66" name="Textplatzhalter 12">
            <a:extLst>
              <a:ext uri="{FF2B5EF4-FFF2-40B4-BE49-F238E27FC236}">
                <a16:creationId xmlns:a16="http://schemas.microsoft.com/office/drawing/2014/main" id="{9419B69F-23AC-4F0C-AE67-A97725504D6B}"/>
              </a:ext>
            </a:extLst>
          </p:cNvPr>
          <p:cNvSpPr>
            <a:spLocks noGrp="1"/>
          </p:cNvSpPr>
          <p:nvPr>
            <p:ph type="body" sz="quarter" idx="28" hasCustomPrompt="1"/>
          </p:nvPr>
        </p:nvSpPr>
        <p:spPr>
          <a:xfrm>
            <a:off x="518319" y="1632212"/>
            <a:ext cx="11160000" cy="3600"/>
          </a:xfrm>
          <a:solidFill>
            <a:srgbClr val="D0D0D0"/>
          </a:solidFill>
        </p:spPr>
        <p:txBody>
          <a:bodyPr/>
          <a:lstStyle>
            <a:lvl1pPr>
              <a:defRPr/>
            </a:lvl1pPr>
          </a:lstStyle>
          <a:p>
            <a:pPr lvl="0"/>
            <a:r>
              <a:rPr lang="de-DE"/>
              <a:t> </a:t>
            </a:r>
          </a:p>
        </p:txBody>
      </p:sp>
      <p:sp>
        <p:nvSpPr>
          <p:cNvPr id="67" name="Textplatzhalter 12">
            <a:extLst>
              <a:ext uri="{FF2B5EF4-FFF2-40B4-BE49-F238E27FC236}">
                <a16:creationId xmlns:a16="http://schemas.microsoft.com/office/drawing/2014/main" id="{87C23388-79A6-4550-944A-CEFD3A45764D}"/>
              </a:ext>
            </a:extLst>
          </p:cNvPr>
          <p:cNvSpPr>
            <a:spLocks noGrp="1"/>
          </p:cNvSpPr>
          <p:nvPr>
            <p:ph type="body" sz="quarter" idx="29" hasCustomPrompt="1"/>
          </p:nvPr>
        </p:nvSpPr>
        <p:spPr>
          <a:xfrm>
            <a:off x="518319" y="6091175"/>
            <a:ext cx="11160000" cy="3600"/>
          </a:xfrm>
          <a:solidFill>
            <a:srgbClr val="D0D0D0"/>
          </a:solidFill>
        </p:spPr>
        <p:txBody>
          <a:bodyPr/>
          <a:lstStyle>
            <a:lvl1pPr>
              <a:defRPr/>
            </a:lvl1pPr>
          </a:lstStyle>
          <a:p>
            <a:pPr lvl="0"/>
            <a:r>
              <a:rPr lang="de-DE"/>
              <a:t> </a:t>
            </a:r>
          </a:p>
        </p:txBody>
      </p:sp>
      <p:sp>
        <p:nvSpPr>
          <p:cNvPr id="68" name="Textplatzhalter 12">
            <a:extLst>
              <a:ext uri="{FF2B5EF4-FFF2-40B4-BE49-F238E27FC236}">
                <a16:creationId xmlns:a16="http://schemas.microsoft.com/office/drawing/2014/main" id="{DD8CFE88-61CB-4244-8ECE-D7766410BBA0}"/>
              </a:ext>
            </a:extLst>
          </p:cNvPr>
          <p:cNvSpPr>
            <a:spLocks noGrp="1"/>
          </p:cNvSpPr>
          <p:nvPr>
            <p:ph type="body" sz="quarter" idx="30" hasCustomPrompt="1"/>
          </p:nvPr>
        </p:nvSpPr>
        <p:spPr>
          <a:xfrm>
            <a:off x="518319" y="5454182"/>
            <a:ext cx="11160000" cy="3600"/>
          </a:xfrm>
          <a:solidFill>
            <a:srgbClr val="D0D0D0"/>
          </a:solidFill>
        </p:spPr>
        <p:txBody>
          <a:bodyPr/>
          <a:lstStyle>
            <a:lvl1pPr>
              <a:defRPr/>
            </a:lvl1pPr>
          </a:lstStyle>
          <a:p>
            <a:pPr lvl="0"/>
            <a:r>
              <a:rPr lang="de-DE"/>
              <a:t> </a:t>
            </a:r>
          </a:p>
        </p:txBody>
      </p:sp>
      <p:sp>
        <p:nvSpPr>
          <p:cNvPr id="69" name="Textplatzhalter 12">
            <a:extLst>
              <a:ext uri="{FF2B5EF4-FFF2-40B4-BE49-F238E27FC236}">
                <a16:creationId xmlns:a16="http://schemas.microsoft.com/office/drawing/2014/main" id="{FF79CEE5-E40A-4D93-B783-AABDC5F5C7B1}"/>
              </a:ext>
            </a:extLst>
          </p:cNvPr>
          <p:cNvSpPr>
            <a:spLocks noGrp="1"/>
          </p:cNvSpPr>
          <p:nvPr>
            <p:ph type="body" sz="quarter" idx="31" hasCustomPrompt="1"/>
          </p:nvPr>
        </p:nvSpPr>
        <p:spPr>
          <a:xfrm>
            <a:off x="518319" y="4817187"/>
            <a:ext cx="11160000" cy="3600"/>
          </a:xfrm>
          <a:solidFill>
            <a:srgbClr val="D0D0D0"/>
          </a:solidFill>
        </p:spPr>
        <p:txBody>
          <a:bodyPr/>
          <a:lstStyle>
            <a:lvl1pPr>
              <a:defRPr/>
            </a:lvl1pPr>
          </a:lstStyle>
          <a:p>
            <a:pPr lvl="0"/>
            <a:r>
              <a:rPr lang="de-DE"/>
              <a:t> </a:t>
            </a:r>
          </a:p>
        </p:txBody>
      </p:sp>
      <p:sp>
        <p:nvSpPr>
          <p:cNvPr id="70" name="Textplatzhalter 12">
            <a:extLst>
              <a:ext uri="{FF2B5EF4-FFF2-40B4-BE49-F238E27FC236}">
                <a16:creationId xmlns:a16="http://schemas.microsoft.com/office/drawing/2014/main" id="{E25563C2-F390-41DF-8B66-6FE3F35B758B}"/>
              </a:ext>
            </a:extLst>
          </p:cNvPr>
          <p:cNvSpPr>
            <a:spLocks noGrp="1"/>
          </p:cNvSpPr>
          <p:nvPr>
            <p:ph type="body" sz="quarter" idx="32" hasCustomPrompt="1"/>
          </p:nvPr>
        </p:nvSpPr>
        <p:spPr>
          <a:xfrm>
            <a:off x="518319" y="4180192"/>
            <a:ext cx="11160000" cy="3600"/>
          </a:xfrm>
          <a:solidFill>
            <a:srgbClr val="D0D0D0"/>
          </a:solidFill>
        </p:spPr>
        <p:txBody>
          <a:bodyPr/>
          <a:lstStyle>
            <a:lvl1pPr>
              <a:defRPr/>
            </a:lvl1pPr>
          </a:lstStyle>
          <a:p>
            <a:pPr lvl="0"/>
            <a:r>
              <a:rPr lang="de-DE"/>
              <a:t> </a:t>
            </a:r>
          </a:p>
        </p:txBody>
      </p:sp>
      <p:sp>
        <p:nvSpPr>
          <p:cNvPr id="71" name="Textplatzhalter 12">
            <a:extLst>
              <a:ext uri="{FF2B5EF4-FFF2-40B4-BE49-F238E27FC236}">
                <a16:creationId xmlns:a16="http://schemas.microsoft.com/office/drawing/2014/main" id="{170A561E-6932-40A5-BF4F-8E915E25BC1F}"/>
              </a:ext>
            </a:extLst>
          </p:cNvPr>
          <p:cNvSpPr>
            <a:spLocks noGrp="1"/>
          </p:cNvSpPr>
          <p:nvPr>
            <p:ph type="body" sz="quarter" idx="33" hasCustomPrompt="1"/>
          </p:nvPr>
        </p:nvSpPr>
        <p:spPr>
          <a:xfrm>
            <a:off x="518319" y="3543197"/>
            <a:ext cx="11160000" cy="3600"/>
          </a:xfrm>
          <a:solidFill>
            <a:srgbClr val="D0D0D0"/>
          </a:solidFill>
        </p:spPr>
        <p:txBody>
          <a:bodyPr/>
          <a:lstStyle>
            <a:lvl1pPr>
              <a:defRPr/>
            </a:lvl1pPr>
          </a:lstStyle>
          <a:p>
            <a:pPr lvl="0"/>
            <a:r>
              <a:rPr lang="de-DE"/>
              <a:t> </a:t>
            </a:r>
          </a:p>
        </p:txBody>
      </p:sp>
      <p:sp>
        <p:nvSpPr>
          <p:cNvPr id="72" name="Textplatzhalter 12">
            <a:extLst>
              <a:ext uri="{FF2B5EF4-FFF2-40B4-BE49-F238E27FC236}">
                <a16:creationId xmlns:a16="http://schemas.microsoft.com/office/drawing/2014/main" id="{65D0B265-DECE-417F-AB3D-7A87574E2F98}"/>
              </a:ext>
            </a:extLst>
          </p:cNvPr>
          <p:cNvSpPr>
            <a:spLocks noGrp="1"/>
          </p:cNvSpPr>
          <p:nvPr>
            <p:ph type="body" sz="quarter" idx="34" hasCustomPrompt="1"/>
          </p:nvPr>
        </p:nvSpPr>
        <p:spPr>
          <a:xfrm>
            <a:off x="518319" y="2906202"/>
            <a:ext cx="11160000" cy="3600"/>
          </a:xfrm>
          <a:solidFill>
            <a:srgbClr val="D0D0D0"/>
          </a:solidFill>
        </p:spPr>
        <p:txBody>
          <a:bodyPr/>
          <a:lstStyle>
            <a:lvl1pPr>
              <a:defRPr/>
            </a:lvl1pPr>
          </a:lstStyle>
          <a:p>
            <a:pPr lvl="0"/>
            <a:r>
              <a:rPr lang="de-DE"/>
              <a:t> </a:t>
            </a:r>
          </a:p>
        </p:txBody>
      </p:sp>
      <p:sp>
        <p:nvSpPr>
          <p:cNvPr id="73" name="Textplatzhalter 12">
            <a:extLst>
              <a:ext uri="{FF2B5EF4-FFF2-40B4-BE49-F238E27FC236}">
                <a16:creationId xmlns:a16="http://schemas.microsoft.com/office/drawing/2014/main" id="{157B6548-27DE-4EC0-913F-C14F49FA7AFE}"/>
              </a:ext>
            </a:extLst>
          </p:cNvPr>
          <p:cNvSpPr>
            <a:spLocks noGrp="1"/>
          </p:cNvSpPr>
          <p:nvPr>
            <p:ph type="body" sz="quarter" idx="35" hasCustomPrompt="1"/>
          </p:nvPr>
        </p:nvSpPr>
        <p:spPr>
          <a:xfrm>
            <a:off x="518319" y="2269207"/>
            <a:ext cx="11160000" cy="3600"/>
          </a:xfrm>
          <a:solidFill>
            <a:srgbClr val="D0D0D0"/>
          </a:solidFill>
        </p:spPr>
        <p:txBody>
          <a:bodyPr/>
          <a:lstStyle>
            <a:lvl1pPr>
              <a:defRPr/>
            </a:lvl1pPr>
          </a:lstStyle>
          <a:p>
            <a:pPr lvl="0"/>
            <a:r>
              <a:rPr lang="de-DE"/>
              <a:t> </a:t>
            </a:r>
          </a:p>
        </p:txBody>
      </p:sp>
      <p:sp>
        <p:nvSpPr>
          <p:cNvPr id="43" name="Textplatzhalter 12">
            <a:extLst>
              <a:ext uri="{FF2B5EF4-FFF2-40B4-BE49-F238E27FC236}">
                <a16:creationId xmlns:a16="http://schemas.microsoft.com/office/drawing/2014/main" id="{480C8321-1D72-4546-ACBC-6E0787AC9A98}"/>
              </a:ext>
            </a:extLst>
          </p:cNvPr>
          <p:cNvSpPr>
            <a:spLocks noGrp="1"/>
          </p:cNvSpPr>
          <p:nvPr>
            <p:ph type="body" sz="quarter" idx="14" hasCustomPrompt="1"/>
          </p:nvPr>
        </p:nvSpPr>
        <p:spPr>
          <a:xfrm>
            <a:off x="0" y="1609040"/>
            <a:ext cx="12192000" cy="663053"/>
          </a:xfrm>
          <a:solidFill>
            <a:srgbClr val="7F7F7F"/>
          </a:solidFill>
        </p:spPr>
        <p:txBody>
          <a:bodyPr wrap="square" lIns="518400" tIns="54000" bIns="54000" anchor="ctr" anchorCtr="0">
            <a:noAutofit/>
          </a:bodyPr>
          <a:lstStyle>
            <a:lvl1pPr>
              <a:lnSpc>
                <a:spcPct val="100000"/>
              </a:lnSpc>
              <a:spcAft>
                <a:spcPts val="0"/>
              </a:spcAft>
              <a:defRPr sz="2800" b="1">
                <a:solidFill>
                  <a:schemeClr val="bg1"/>
                </a:solidFill>
                <a:latin typeface="ZEISS Frutiger Next W1G"/>
                <a:cs typeface="Arial" panose="020B0604020202020204" pitchFamily="34" charset="0"/>
              </a:defRPr>
            </a:lvl1pPr>
          </a:lstStyle>
          <a:p>
            <a:pPr lvl="0"/>
            <a:r>
              <a:rPr lang="de-DE"/>
              <a:t>1</a:t>
            </a:r>
          </a:p>
        </p:txBody>
      </p:sp>
      <p:sp>
        <p:nvSpPr>
          <p:cNvPr id="47" name="Textplatzhalter 12">
            <a:extLst>
              <a:ext uri="{FF2B5EF4-FFF2-40B4-BE49-F238E27FC236}">
                <a16:creationId xmlns:a16="http://schemas.microsoft.com/office/drawing/2014/main" id="{F113A3A0-3CB1-4582-BBE4-5170002C0C77}"/>
              </a:ext>
            </a:extLst>
          </p:cNvPr>
          <p:cNvSpPr>
            <a:spLocks noGrp="1"/>
          </p:cNvSpPr>
          <p:nvPr>
            <p:ph type="body" sz="quarter" idx="16" hasCustomPrompt="1"/>
          </p:nvPr>
        </p:nvSpPr>
        <p:spPr>
          <a:xfrm>
            <a:off x="0" y="2890990"/>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3</a:t>
            </a:r>
          </a:p>
        </p:txBody>
      </p:sp>
      <p:sp>
        <p:nvSpPr>
          <p:cNvPr id="48" name="Textplatzhalter 12">
            <a:extLst>
              <a:ext uri="{FF2B5EF4-FFF2-40B4-BE49-F238E27FC236}">
                <a16:creationId xmlns:a16="http://schemas.microsoft.com/office/drawing/2014/main" id="{5E404E45-039F-4BD3-B00C-A7311E52D534}"/>
              </a:ext>
            </a:extLst>
          </p:cNvPr>
          <p:cNvSpPr>
            <a:spLocks noGrp="1"/>
          </p:cNvSpPr>
          <p:nvPr>
            <p:ph type="body" sz="quarter" idx="17" hasCustomPrompt="1"/>
          </p:nvPr>
        </p:nvSpPr>
        <p:spPr>
          <a:xfrm>
            <a:off x="0" y="3531965"/>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4</a:t>
            </a:r>
          </a:p>
        </p:txBody>
      </p:sp>
      <p:sp>
        <p:nvSpPr>
          <p:cNvPr id="49" name="Textplatzhalter 12">
            <a:extLst>
              <a:ext uri="{FF2B5EF4-FFF2-40B4-BE49-F238E27FC236}">
                <a16:creationId xmlns:a16="http://schemas.microsoft.com/office/drawing/2014/main" id="{E15F7779-9874-43F8-9135-D5BE311D3A98}"/>
              </a:ext>
            </a:extLst>
          </p:cNvPr>
          <p:cNvSpPr>
            <a:spLocks noGrp="1"/>
          </p:cNvSpPr>
          <p:nvPr>
            <p:ph type="body" sz="quarter" idx="18" hasCustomPrompt="1"/>
          </p:nvPr>
        </p:nvSpPr>
        <p:spPr>
          <a:xfrm>
            <a:off x="0" y="4172940"/>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mn-lt"/>
                <a:cs typeface="ZEISS Frutiger Next W1G Medium" panose="020B0602030202020203" pitchFamily="34" charset="0"/>
              </a:defRPr>
            </a:lvl1pPr>
          </a:lstStyle>
          <a:p>
            <a:pPr lvl="0"/>
            <a:r>
              <a:rPr lang="de-DE"/>
              <a:t>5</a:t>
            </a:r>
          </a:p>
        </p:txBody>
      </p:sp>
      <p:sp>
        <p:nvSpPr>
          <p:cNvPr id="50" name="Textplatzhalter 12">
            <a:extLst>
              <a:ext uri="{FF2B5EF4-FFF2-40B4-BE49-F238E27FC236}">
                <a16:creationId xmlns:a16="http://schemas.microsoft.com/office/drawing/2014/main" id="{5F9C8197-1276-4D10-B7B9-75BFFF1BA0CB}"/>
              </a:ext>
            </a:extLst>
          </p:cNvPr>
          <p:cNvSpPr>
            <a:spLocks noGrp="1"/>
          </p:cNvSpPr>
          <p:nvPr>
            <p:ph type="body" sz="quarter" idx="19" hasCustomPrompt="1"/>
          </p:nvPr>
        </p:nvSpPr>
        <p:spPr>
          <a:xfrm>
            <a:off x="0" y="4813915"/>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mn-lt"/>
                <a:cs typeface="ZEISS Frutiger Next W1G Medium" panose="020B0602030202020203" pitchFamily="34" charset="0"/>
              </a:defRPr>
            </a:lvl1pPr>
          </a:lstStyle>
          <a:p>
            <a:pPr lvl="0"/>
            <a:r>
              <a:rPr lang="de-DE"/>
              <a:t>6</a:t>
            </a:r>
          </a:p>
        </p:txBody>
      </p:sp>
      <p:sp>
        <p:nvSpPr>
          <p:cNvPr id="51" name="Textplatzhalter 12">
            <a:extLst>
              <a:ext uri="{FF2B5EF4-FFF2-40B4-BE49-F238E27FC236}">
                <a16:creationId xmlns:a16="http://schemas.microsoft.com/office/drawing/2014/main" id="{409AAE60-F87F-43DF-9C66-F204272E7FEB}"/>
              </a:ext>
            </a:extLst>
          </p:cNvPr>
          <p:cNvSpPr>
            <a:spLocks noGrp="1"/>
          </p:cNvSpPr>
          <p:nvPr>
            <p:ph type="body" sz="quarter" idx="20" hasCustomPrompt="1"/>
          </p:nvPr>
        </p:nvSpPr>
        <p:spPr>
          <a:xfrm>
            <a:off x="0" y="5454892"/>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7</a:t>
            </a:r>
          </a:p>
        </p:txBody>
      </p:sp>
      <p:sp>
        <p:nvSpPr>
          <p:cNvPr id="57" name="Textplatzhalter 12">
            <a:extLst>
              <a:ext uri="{FF2B5EF4-FFF2-40B4-BE49-F238E27FC236}">
                <a16:creationId xmlns:a16="http://schemas.microsoft.com/office/drawing/2014/main" id="{EBD248D3-CAEC-4C8E-885B-E957F3B62F6E}"/>
              </a:ext>
            </a:extLst>
          </p:cNvPr>
          <p:cNvSpPr>
            <a:spLocks noGrp="1"/>
          </p:cNvSpPr>
          <p:nvPr>
            <p:ph type="body" sz="quarter" idx="41" hasCustomPrompt="1"/>
          </p:nvPr>
        </p:nvSpPr>
        <p:spPr>
          <a:xfrm>
            <a:off x="0" y="2250015"/>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2</a:t>
            </a:r>
          </a:p>
        </p:txBody>
      </p:sp>
      <p:sp>
        <p:nvSpPr>
          <p:cNvPr id="6" name="Titel 5">
            <a:extLst>
              <a:ext uri="{FF2B5EF4-FFF2-40B4-BE49-F238E27FC236}">
                <a16:creationId xmlns:a16="http://schemas.microsoft.com/office/drawing/2014/main" id="{5008D678-508B-4EAC-8996-9B20ADAA3BC3}"/>
              </a:ext>
            </a:extLst>
          </p:cNvPr>
          <p:cNvSpPr>
            <a:spLocks noGrp="1"/>
          </p:cNvSpPr>
          <p:nvPr>
            <p:ph type="title"/>
          </p:nvPr>
        </p:nvSpPr>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44" name="Gerade Verbindung 71">
            <a:extLst>
              <a:ext uri="{FF2B5EF4-FFF2-40B4-BE49-F238E27FC236}">
                <a16:creationId xmlns:a16="http://schemas.microsoft.com/office/drawing/2014/main" id="{25F92CEA-1B2A-4107-853E-0010403CE96B}"/>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54" name="Textplatzhalter 8">
            <a:extLst>
              <a:ext uri="{FF2B5EF4-FFF2-40B4-BE49-F238E27FC236}">
                <a16:creationId xmlns:a16="http://schemas.microsoft.com/office/drawing/2014/main" id="{BB278DD4-3FCE-4782-AF12-45EC18329176}"/>
              </a:ext>
            </a:extLst>
          </p:cNvPr>
          <p:cNvSpPr>
            <a:spLocks noGrp="1"/>
          </p:cNvSpPr>
          <p:nvPr>
            <p:ph type="body" sz="quarter" idx="36"/>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28" name="Textplatzhalter 27">
            <a:extLst>
              <a:ext uri="{FF2B5EF4-FFF2-40B4-BE49-F238E27FC236}">
                <a16:creationId xmlns:a16="http://schemas.microsoft.com/office/drawing/2014/main" id="{10C57EE4-17A8-41AE-AD8F-0C906241B73B}"/>
              </a:ext>
            </a:extLst>
          </p:cNvPr>
          <p:cNvSpPr>
            <a:spLocks noGrp="1"/>
          </p:cNvSpPr>
          <p:nvPr>
            <p:ph type="body" sz="quarter" idx="21" hasCustomPrompt="1"/>
          </p:nvPr>
        </p:nvSpPr>
        <p:spPr>
          <a:xfrm>
            <a:off x="1108694" y="1713197"/>
            <a:ext cx="5131769" cy="454740"/>
          </a:xfrm>
        </p:spPr>
        <p:txBody>
          <a:bodyPr anchor="ctr" anchorCtr="0">
            <a:noAutofit/>
          </a:bodyPr>
          <a:lstStyle>
            <a:lvl1pPr>
              <a:lnSpc>
                <a:spcPts val="1600"/>
              </a:lnSpc>
              <a:spcAft>
                <a:spcPts val="0"/>
              </a:spcAft>
              <a:defRPr sz="1400">
                <a:solidFill>
                  <a:schemeClr val="bg1"/>
                </a:solidFill>
                <a:latin typeface="ZEISS Frutiger Next W1G"/>
                <a:cs typeface="Arial" panose="020B0604020202020204" pitchFamily="34" charset="0"/>
              </a:defRPr>
            </a:lvl1pPr>
          </a:lstStyle>
          <a:p>
            <a:pPr lvl="0"/>
            <a:r>
              <a:rPr lang="de-DE"/>
              <a:t>Einführung</a:t>
            </a:r>
          </a:p>
        </p:txBody>
      </p:sp>
      <p:sp>
        <p:nvSpPr>
          <p:cNvPr id="29" name="Textplatzhalter 27">
            <a:extLst>
              <a:ext uri="{FF2B5EF4-FFF2-40B4-BE49-F238E27FC236}">
                <a16:creationId xmlns:a16="http://schemas.microsoft.com/office/drawing/2014/main" id="{EDC138DF-81E8-468E-BE50-5A359E245AF8}"/>
              </a:ext>
            </a:extLst>
          </p:cNvPr>
          <p:cNvSpPr>
            <a:spLocks noGrp="1"/>
          </p:cNvSpPr>
          <p:nvPr>
            <p:ph type="body" sz="quarter" idx="22" hasCustomPrompt="1"/>
          </p:nvPr>
        </p:nvSpPr>
        <p:spPr>
          <a:xfrm>
            <a:off x="1108694" y="5559049"/>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Quellen</a:t>
            </a:r>
          </a:p>
        </p:txBody>
      </p:sp>
      <p:sp>
        <p:nvSpPr>
          <p:cNvPr id="30" name="Textplatzhalter 27">
            <a:extLst>
              <a:ext uri="{FF2B5EF4-FFF2-40B4-BE49-F238E27FC236}">
                <a16:creationId xmlns:a16="http://schemas.microsoft.com/office/drawing/2014/main" id="{E67A7442-A1B4-49EA-9268-A28469018AD8}"/>
              </a:ext>
            </a:extLst>
          </p:cNvPr>
          <p:cNvSpPr>
            <a:spLocks noGrp="1"/>
          </p:cNvSpPr>
          <p:nvPr>
            <p:ph type="body" sz="quarter" idx="23" hasCustomPrompt="1"/>
          </p:nvPr>
        </p:nvSpPr>
        <p:spPr>
          <a:xfrm>
            <a:off x="1108694" y="491807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Software und Ausblick </a:t>
            </a:r>
          </a:p>
        </p:txBody>
      </p:sp>
      <p:sp>
        <p:nvSpPr>
          <p:cNvPr id="31" name="Textplatzhalter 27">
            <a:extLst>
              <a:ext uri="{FF2B5EF4-FFF2-40B4-BE49-F238E27FC236}">
                <a16:creationId xmlns:a16="http://schemas.microsoft.com/office/drawing/2014/main" id="{9B7A6C1A-6494-4115-8E54-99DC0DB45D22}"/>
              </a:ext>
            </a:extLst>
          </p:cNvPr>
          <p:cNvSpPr>
            <a:spLocks noGrp="1"/>
          </p:cNvSpPr>
          <p:nvPr>
            <p:ph type="body" sz="quarter" idx="24" hasCustomPrompt="1"/>
          </p:nvPr>
        </p:nvSpPr>
        <p:spPr>
          <a:xfrm>
            <a:off x="1108694" y="4277097"/>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Phase 3: EMV </a:t>
            </a:r>
          </a:p>
        </p:txBody>
      </p:sp>
      <p:sp>
        <p:nvSpPr>
          <p:cNvPr id="32" name="Textplatzhalter 27">
            <a:extLst>
              <a:ext uri="{FF2B5EF4-FFF2-40B4-BE49-F238E27FC236}">
                <a16:creationId xmlns:a16="http://schemas.microsoft.com/office/drawing/2014/main" id="{9D8685BE-5979-43B0-AC0C-740549877785}"/>
              </a:ext>
            </a:extLst>
          </p:cNvPr>
          <p:cNvSpPr>
            <a:spLocks noGrp="1"/>
          </p:cNvSpPr>
          <p:nvPr>
            <p:ph type="body" sz="quarter" idx="25" hasCustomPrompt="1"/>
          </p:nvPr>
        </p:nvSpPr>
        <p:spPr>
          <a:xfrm>
            <a:off x="1108694" y="363612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Phase 2: Schaltplanerläuterung </a:t>
            </a:r>
          </a:p>
        </p:txBody>
      </p:sp>
      <p:sp>
        <p:nvSpPr>
          <p:cNvPr id="34" name="Textplatzhalter 27">
            <a:extLst>
              <a:ext uri="{FF2B5EF4-FFF2-40B4-BE49-F238E27FC236}">
                <a16:creationId xmlns:a16="http://schemas.microsoft.com/office/drawing/2014/main" id="{F5438DE9-D033-4100-9761-E4FFFC202FE2}"/>
              </a:ext>
            </a:extLst>
          </p:cNvPr>
          <p:cNvSpPr>
            <a:spLocks noGrp="1"/>
          </p:cNvSpPr>
          <p:nvPr>
            <p:ph type="body" sz="quarter" idx="27" hasCustomPrompt="1"/>
          </p:nvPr>
        </p:nvSpPr>
        <p:spPr>
          <a:xfrm>
            <a:off x="1108694" y="235417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Was ist ein Oszilloskop</a:t>
            </a:r>
          </a:p>
        </p:txBody>
      </p:sp>
      <p:sp>
        <p:nvSpPr>
          <p:cNvPr id="55" name="Textplatzhalter 27">
            <a:extLst>
              <a:ext uri="{FF2B5EF4-FFF2-40B4-BE49-F238E27FC236}">
                <a16:creationId xmlns:a16="http://schemas.microsoft.com/office/drawing/2014/main" id="{40334521-65D4-4254-A9E2-9118257ED994}"/>
              </a:ext>
            </a:extLst>
          </p:cNvPr>
          <p:cNvSpPr>
            <a:spLocks noGrp="1"/>
          </p:cNvSpPr>
          <p:nvPr>
            <p:ph type="body" sz="quarter" idx="40" hasCustomPrompt="1"/>
          </p:nvPr>
        </p:nvSpPr>
        <p:spPr>
          <a:xfrm>
            <a:off x="1108694" y="2995147"/>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Phase 1: Konzept und Design </a:t>
            </a:r>
          </a:p>
        </p:txBody>
      </p:sp>
      <p:sp>
        <p:nvSpPr>
          <p:cNvPr id="3" name="Datumsplatzhalter 2">
            <a:extLst>
              <a:ext uri="{FF2B5EF4-FFF2-40B4-BE49-F238E27FC236}">
                <a16:creationId xmlns:a16="http://schemas.microsoft.com/office/drawing/2014/main" id="{EAF805B4-76E3-4826-9409-49DD32B8BDF3}"/>
              </a:ext>
            </a:extLst>
          </p:cNvPr>
          <p:cNvSpPr>
            <a:spLocks noGrp="1"/>
          </p:cNvSpPr>
          <p:nvPr>
            <p:ph type="dt" sz="half" idx="42"/>
          </p:nvPr>
        </p:nvSpPr>
        <p:spPr/>
        <p:txBody>
          <a:bodyPr/>
          <a:lstStyle/>
          <a:p>
            <a:fld id="{595DC657-C01B-431D-91F7-EAB19829DFC3}" type="datetime4">
              <a:rPr lang="de-DE" smtClean="0"/>
              <a:t>17. Februar 2025</a:t>
            </a:fld>
            <a:endParaRPr lang="de-DE"/>
          </a:p>
        </p:txBody>
      </p:sp>
      <p:sp>
        <p:nvSpPr>
          <p:cNvPr id="5" name="Foliennummernplatzhalter 4">
            <a:extLst>
              <a:ext uri="{FF2B5EF4-FFF2-40B4-BE49-F238E27FC236}">
                <a16:creationId xmlns:a16="http://schemas.microsoft.com/office/drawing/2014/main" id="{D4F4D5BA-CD6F-4502-A501-018ECBEDA881}"/>
              </a:ext>
            </a:extLst>
          </p:cNvPr>
          <p:cNvSpPr>
            <a:spLocks noGrp="1"/>
          </p:cNvSpPr>
          <p:nvPr>
            <p:ph type="sldNum" sz="quarter" idx="44"/>
          </p:nvPr>
        </p:nvSpPr>
        <p:spPr/>
        <p:txBody>
          <a:bodyPr/>
          <a:lstStyle/>
          <a:p>
            <a:fld id="{C6A4AD45-2621-4550-9DC5-4911F1B5FA4D}" type="slidenum">
              <a:rPr lang="de-DE" smtClean="0"/>
              <a:pPr/>
              <a:t>‹Nr.›</a:t>
            </a:fld>
            <a:endParaRPr lang="de-DE"/>
          </a:p>
        </p:txBody>
      </p:sp>
      <p:sp>
        <p:nvSpPr>
          <p:cNvPr id="33" name="Textplatzhalter 27">
            <a:extLst>
              <a:ext uri="{FF2B5EF4-FFF2-40B4-BE49-F238E27FC236}">
                <a16:creationId xmlns:a16="http://schemas.microsoft.com/office/drawing/2014/main" id="{0BF1CB17-6946-48DD-86FB-32D08D0822BB}"/>
              </a:ext>
            </a:extLst>
          </p:cNvPr>
          <p:cNvSpPr>
            <a:spLocks noGrp="1"/>
          </p:cNvSpPr>
          <p:nvPr>
            <p:ph type="body" sz="quarter" idx="45" hasCustomPrompt="1"/>
          </p:nvPr>
        </p:nvSpPr>
        <p:spPr>
          <a:xfrm>
            <a:off x="7969191" y="1713197"/>
            <a:ext cx="2289234" cy="454740"/>
          </a:xfrm>
        </p:spPr>
        <p:txBody>
          <a:bodyPr anchor="ctr" anchorCtr="0">
            <a:noAutofit/>
          </a:bodyPr>
          <a:lstStyle>
            <a:lvl1pPr>
              <a:lnSpc>
                <a:spcPts val="1600"/>
              </a:lnSpc>
              <a:spcAft>
                <a:spcPts val="0"/>
              </a:spcAft>
              <a:defRPr sz="1400">
                <a:solidFill>
                  <a:schemeClr val="bg1"/>
                </a:solidFill>
                <a:latin typeface="ZEISS Frutiger Next W1G"/>
                <a:cs typeface="ZEISS Frutiger Next W1G Medium"/>
              </a:defRPr>
            </a:lvl1pPr>
          </a:lstStyle>
          <a:p>
            <a:pPr lvl="0"/>
            <a:r>
              <a:rPr lang="de-DE" noProof="0"/>
              <a:t>Vogel</a:t>
            </a:r>
          </a:p>
        </p:txBody>
      </p:sp>
      <p:sp>
        <p:nvSpPr>
          <p:cNvPr id="45" name="Textplatzhalter 27">
            <a:extLst>
              <a:ext uri="{FF2B5EF4-FFF2-40B4-BE49-F238E27FC236}">
                <a16:creationId xmlns:a16="http://schemas.microsoft.com/office/drawing/2014/main" id="{7343DC8B-15EF-4462-8F1D-8B232DB153C9}"/>
              </a:ext>
            </a:extLst>
          </p:cNvPr>
          <p:cNvSpPr>
            <a:spLocks noGrp="1"/>
          </p:cNvSpPr>
          <p:nvPr>
            <p:ph type="body" sz="quarter" idx="46" hasCustomPrompt="1"/>
          </p:nvPr>
        </p:nvSpPr>
        <p:spPr>
          <a:xfrm>
            <a:off x="10509624" y="1713197"/>
            <a:ext cx="1265816" cy="454740"/>
          </a:xfrm>
        </p:spPr>
        <p:txBody>
          <a:bodyPr anchor="ctr" anchorCtr="0">
            <a:noAutofit/>
          </a:bodyPr>
          <a:lstStyle>
            <a:lvl1pPr>
              <a:lnSpc>
                <a:spcPts val="1600"/>
              </a:lnSpc>
              <a:spcAft>
                <a:spcPts val="0"/>
              </a:spcAft>
              <a:defRPr sz="1400">
                <a:solidFill>
                  <a:schemeClr val="bg1"/>
                </a:solidFill>
                <a:latin typeface="ZEISS Frutiger Next W1G"/>
                <a:cs typeface="Arial" panose="020B0604020202020204" pitchFamily="34" charset="0"/>
              </a:defRPr>
            </a:lvl1pPr>
          </a:lstStyle>
          <a:p>
            <a:pPr lvl="0"/>
            <a:r>
              <a:rPr lang="en-US" noProof="0"/>
              <a:t>Folie 4</a:t>
            </a:r>
          </a:p>
        </p:txBody>
      </p:sp>
      <p:sp>
        <p:nvSpPr>
          <p:cNvPr id="46" name="Textplatzhalter 27">
            <a:extLst>
              <a:ext uri="{FF2B5EF4-FFF2-40B4-BE49-F238E27FC236}">
                <a16:creationId xmlns:a16="http://schemas.microsoft.com/office/drawing/2014/main" id="{0256E43A-F609-4966-88A3-E764C8E933A3}"/>
              </a:ext>
            </a:extLst>
          </p:cNvPr>
          <p:cNvSpPr>
            <a:spLocks noGrp="1"/>
          </p:cNvSpPr>
          <p:nvPr>
            <p:ph type="body" sz="quarter" idx="47" hasCustomPrompt="1"/>
          </p:nvPr>
        </p:nvSpPr>
        <p:spPr>
          <a:xfrm>
            <a:off x="7969191" y="5559049"/>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a:t>
            </a:r>
          </a:p>
        </p:txBody>
      </p:sp>
      <p:sp>
        <p:nvSpPr>
          <p:cNvPr id="52" name="Textplatzhalter 27">
            <a:extLst>
              <a:ext uri="{FF2B5EF4-FFF2-40B4-BE49-F238E27FC236}">
                <a16:creationId xmlns:a16="http://schemas.microsoft.com/office/drawing/2014/main" id="{D314D9B0-545E-4726-9C7D-4B41F1DCC415}"/>
              </a:ext>
            </a:extLst>
          </p:cNvPr>
          <p:cNvSpPr>
            <a:spLocks noGrp="1"/>
          </p:cNvSpPr>
          <p:nvPr>
            <p:ph type="body" sz="quarter" idx="48" hasCustomPrompt="1"/>
          </p:nvPr>
        </p:nvSpPr>
        <p:spPr>
          <a:xfrm>
            <a:off x="10509624" y="5559049"/>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53" name="Textplatzhalter 27">
            <a:extLst>
              <a:ext uri="{FF2B5EF4-FFF2-40B4-BE49-F238E27FC236}">
                <a16:creationId xmlns:a16="http://schemas.microsoft.com/office/drawing/2014/main" id="{5B404D5A-25EC-428D-A164-EDF9F1A1F29F}"/>
              </a:ext>
            </a:extLst>
          </p:cNvPr>
          <p:cNvSpPr>
            <a:spLocks noGrp="1"/>
          </p:cNvSpPr>
          <p:nvPr>
            <p:ph type="body" sz="quarter" idx="49" hasCustomPrompt="1"/>
          </p:nvPr>
        </p:nvSpPr>
        <p:spPr>
          <a:xfrm>
            <a:off x="7969191" y="491807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Vogel / Bullinger</a:t>
            </a:r>
          </a:p>
        </p:txBody>
      </p:sp>
      <p:sp>
        <p:nvSpPr>
          <p:cNvPr id="56" name="Textplatzhalter 27">
            <a:extLst>
              <a:ext uri="{FF2B5EF4-FFF2-40B4-BE49-F238E27FC236}">
                <a16:creationId xmlns:a16="http://schemas.microsoft.com/office/drawing/2014/main" id="{0B3B5724-A642-4D4A-A3DC-96853A6CC70C}"/>
              </a:ext>
            </a:extLst>
          </p:cNvPr>
          <p:cNvSpPr>
            <a:spLocks noGrp="1"/>
          </p:cNvSpPr>
          <p:nvPr>
            <p:ph type="body" sz="quarter" idx="50" hasCustomPrompt="1"/>
          </p:nvPr>
        </p:nvSpPr>
        <p:spPr>
          <a:xfrm>
            <a:off x="10509624" y="4918072"/>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58" name="Textplatzhalter 27">
            <a:extLst>
              <a:ext uri="{FF2B5EF4-FFF2-40B4-BE49-F238E27FC236}">
                <a16:creationId xmlns:a16="http://schemas.microsoft.com/office/drawing/2014/main" id="{6B941CAD-84CE-4A6D-93A1-9E846EDD3F7F}"/>
              </a:ext>
            </a:extLst>
          </p:cNvPr>
          <p:cNvSpPr>
            <a:spLocks noGrp="1"/>
          </p:cNvSpPr>
          <p:nvPr>
            <p:ph type="body" sz="quarter" idx="51" hasCustomPrompt="1"/>
          </p:nvPr>
        </p:nvSpPr>
        <p:spPr>
          <a:xfrm>
            <a:off x="7969191" y="4277097"/>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Vogel</a:t>
            </a:r>
          </a:p>
        </p:txBody>
      </p:sp>
      <p:sp>
        <p:nvSpPr>
          <p:cNvPr id="59" name="Textplatzhalter 27">
            <a:extLst>
              <a:ext uri="{FF2B5EF4-FFF2-40B4-BE49-F238E27FC236}">
                <a16:creationId xmlns:a16="http://schemas.microsoft.com/office/drawing/2014/main" id="{5E53BCA1-3B77-4670-BD4C-CCC42A156D74}"/>
              </a:ext>
            </a:extLst>
          </p:cNvPr>
          <p:cNvSpPr>
            <a:spLocks noGrp="1"/>
          </p:cNvSpPr>
          <p:nvPr>
            <p:ph type="body" sz="quarter" idx="52" hasCustomPrompt="1"/>
          </p:nvPr>
        </p:nvSpPr>
        <p:spPr>
          <a:xfrm>
            <a:off x="10509624" y="4277097"/>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60" name="Textplatzhalter 27">
            <a:extLst>
              <a:ext uri="{FF2B5EF4-FFF2-40B4-BE49-F238E27FC236}">
                <a16:creationId xmlns:a16="http://schemas.microsoft.com/office/drawing/2014/main" id="{1B2C773C-FA2B-434A-93F1-0569BA6479F5}"/>
              </a:ext>
            </a:extLst>
          </p:cNvPr>
          <p:cNvSpPr>
            <a:spLocks noGrp="1"/>
          </p:cNvSpPr>
          <p:nvPr>
            <p:ph type="body" sz="quarter" idx="53" hasCustomPrompt="1"/>
          </p:nvPr>
        </p:nvSpPr>
        <p:spPr>
          <a:xfrm>
            <a:off x="7969191" y="363612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Vogel / Bullinger</a:t>
            </a:r>
          </a:p>
        </p:txBody>
      </p:sp>
      <p:sp>
        <p:nvSpPr>
          <p:cNvPr id="61" name="Textplatzhalter 27">
            <a:extLst>
              <a:ext uri="{FF2B5EF4-FFF2-40B4-BE49-F238E27FC236}">
                <a16:creationId xmlns:a16="http://schemas.microsoft.com/office/drawing/2014/main" id="{558DB475-3747-473C-A159-2E4289E0AB39}"/>
              </a:ext>
            </a:extLst>
          </p:cNvPr>
          <p:cNvSpPr>
            <a:spLocks noGrp="1"/>
          </p:cNvSpPr>
          <p:nvPr>
            <p:ph type="body" sz="quarter" idx="54" hasCustomPrompt="1"/>
          </p:nvPr>
        </p:nvSpPr>
        <p:spPr>
          <a:xfrm>
            <a:off x="10509624" y="3636122"/>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Folie 21-29</a:t>
            </a:r>
          </a:p>
        </p:txBody>
      </p:sp>
      <p:sp>
        <p:nvSpPr>
          <p:cNvPr id="62" name="Textplatzhalter 27">
            <a:extLst>
              <a:ext uri="{FF2B5EF4-FFF2-40B4-BE49-F238E27FC236}">
                <a16:creationId xmlns:a16="http://schemas.microsoft.com/office/drawing/2014/main" id="{789CDBD4-662F-4F1C-883C-56A1B71E8371}"/>
              </a:ext>
            </a:extLst>
          </p:cNvPr>
          <p:cNvSpPr>
            <a:spLocks noGrp="1"/>
          </p:cNvSpPr>
          <p:nvPr>
            <p:ph type="body" sz="quarter" idx="55" hasCustomPrompt="1"/>
          </p:nvPr>
        </p:nvSpPr>
        <p:spPr>
          <a:xfrm>
            <a:off x="7969191" y="2995147"/>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Vogel / Bullinger</a:t>
            </a:r>
          </a:p>
        </p:txBody>
      </p:sp>
      <p:sp>
        <p:nvSpPr>
          <p:cNvPr id="63" name="Textplatzhalter 27">
            <a:extLst>
              <a:ext uri="{FF2B5EF4-FFF2-40B4-BE49-F238E27FC236}">
                <a16:creationId xmlns:a16="http://schemas.microsoft.com/office/drawing/2014/main" id="{8546BEDF-CD0C-40AC-9D3E-F322DA4C04A5}"/>
              </a:ext>
            </a:extLst>
          </p:cNvPr>
          <p:cNvSpPr>
            <a:spLocks noGrp="1"/>
          </p:cNvSpPr>
          <p:nvPr>
            <p:ph type="body" sz="quarter" idx="56" hasCustomPrompt="1"/>
          </p:nvPr>
        </p:nvSpPr>
        <p:spPr>
          <a:xfrm>
            <a:off x="10509624" y="2995147"/>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Folie 10-19</a:t>
            </a:r>
          </a:p>
        </p:txBody>
      </p:sp>
      <p:sp>
        <p:nvSpPr>
          <p:cNvPr id="64" name="Textplatzhalter 27">
            <a:extLst>
              <a:ext uri="{FF2B5EF4-FFF2-40B4-BE49-F238E27FC236}">
                <a16:creationId xmlns:a16="http://schemas.microsoft.com/office/drawing/2014/main" id="{ADF9A45B-541C-4922-BFDA-4D90116FDC26}"/>
              </a:ext>
            </a:extLst>
          </p:cNvPr>
          <p:cNvSpPr>
            <a:spLocks noGrp="1"/>
          </p:cNvSpPr>
          <p:nvPr>
            <p:ph type="body" sz="quarter" idx="57" hasCustomPrompt="1"/>
          </p:nvPr>
        </p:nvSpPr>
        <p:spPr>
          <a:xfrm>
            <a:off x="7969191" y="235417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Vogel</a:t>
            </a:r>
          </a:p>
        </p:txBody>
      </p:sp>
      <p:sp>
        <p:nvSpPr>
          <p:cNvPr id="65" name="Textplatzhalter 27">
            <a:extLst>
              <a:ext uri="{FF2B5EF4-FFF2-40B4-BE49-F238E27FC236}">
                <a16:creationId xmlns:a16="http://schemas.microsoft.com/office/drawing/2014/main" id="{7BAA1323-B2C4-403E-9999-2B75E7B097C6}"/>
              </a:ext>
            </a:extLst>
          </p:cNvPr>
          <p:cNvSpPr>
            <a:spLocks noGrp="1"/>
          </p:cNvSpPr>
          <p:nvPr>
            <p:ph type="body" sz="quarter" idx="58" hasCustomPrompt="1"/>
          </p:nvPr>
        </p:nvSpPr>
        <p:spPr>
          <a:xfrm>
            <a:off x="10509624" y="2354172"/>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Folie 6-8</a:t>
            </a:r>
          </a:p>
        </p:txBody>
      </p:sp>
    </p:spTree>
    <p:extLst>
      <p:ext uri="{BB962C8B-B14F-4D97-AF65-F5344CB8AC3E}">
        <p14:creationId xmlns:p14="http://schemas.microsoft.com/office/powerpoint/2010/main" val="1530563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apiteltrenner | mit Bild">
    <p:spTree>
      <p:nvGrpSpPr>
        <p:cNvPr id="1" name=""/>
        <p:cNvGrpSpPr/>
        <p:nvPr/>
      </p:nvGrpSpPr>
      <p:grpSpPr>
        <a:xfrm>
          <a:off x="0" y="0"/>
          <a:ext cx="0" cy="0"/>
          <a:chOff x="0" y="0"/>
          <a:chExt cx="0" cy="0"/>
        </a:xfrm>
      </p:grpSpPr>
      <p:sp>
        <p:nvSpPr>
          <p:cNvPr id="87" name="Bildplatzhalter 86">
            <a:extLst>
              <a:ext uri="{FF2B5EF4-FFF2-40B4-BE49-F238E27FC236}">
                <a16:creationId xmlns:a16="http://schemas.microsoft.com/office/drawing/2014/main" id="{FB389B10-F29E-47A3-8BD0-A0132B3B5CEB}"/>
              </a:ext>
            </a:extLst>
          </p:cNvPr>
          <p:cNvSpPr>
            <a:spLocks noGrp="1"/>
          </p:cNvSpPr>
          <p:nvPr>
            <p:ph type="pic" sz="quarter" idx="57" hasCustomPrompt="1"/>
          </p:nvPr>
        </p:nvSpPr>
        <p:spPr>
          <a:xfrm>
            <a:off x="0" y="3429000"/>
            <a:ext cx="12191985" cy="3429000"/>
          </a:xfrm>
          <a:prstGeom prst="rect">
            <a:avLst/>
          </a:prstGeom>
          <a:solidFill>
            <a:schemeClr val="bg2">
              <a:lumMod val="95000"/>
            </a:schemeClr>
          </a:solidFill>
        </p:spPr>
        <p:txBody>
          <a:bodyPr wrap="square">
            <a:noAutofit/>
          </a:bodyPr>
          <a:lstStyle>
            <a:lvl1pPr>
              <a:defRPr/>
            </a:lvl1pPr>
          </a:lstStyle>
          <a:p>
            <a:r>
              <a:rPr lang="de-DE"/>
              <a:t> </a:t>
            </a:r>
          </a:p>
        </p:txBody>
      </p:sp>
      <p:sp>
        <p:nvSpPr>
          <p:cNvPr id="8" name="Textplatzhalter 8">
            <a:extLst>
              <a:ext uri="{FF2B5EF4-FFF2-40B4-BE49-F238E27FC236}">
                <a16:creationId xmlns:a16="http://schemas.microsoft.com/office/drawing/2014/main" id="{5D536C54-AD88-4971-B5AC-E8FD5A475273}"/>
              </a:ext>
            </a:extLst>
          </p:cNvPr>
          <p:cNvSpPr>
            <a:spLocks noGrp="1"/>
          </p:cNvSpPr>
          <p:nvPr>
            <p:ph type="body" sz="quarter" idx="56"/>
          </p:nvPr>
        </p:nvSpPr>
        <p:spPr>
          <a:xfrm>
            <a:off x="518319" y="2681949"/>
            <a:ext cx="9670705" cy="344710"/>
          </a:xfrm>
        </p:spPr>
        <p:txBody>
          <a:bodyPr wrap="square">
            <a:spAutoFit/>
          </a:bodyPr>
          <a:lstStyle>
            <a:lvl1pPr>
              <a:lnSpc>
                <a:spcPct val="120000"/>
              </a:lnSpc>
              <a:spcAft>
                <a:spcPts val="0"/>
              </a:spcAft>
              <a:defRPr sz="2000">
                <a:solidFill>
                  <a:srgbClr val="141E8C"/>
                </a:solidFill>
                <a:latin typeface="ZEISS Frutiger Next W1G"/>
                <a:cs typeface="Arial" panose="020B0604020202020204" pitchFamily="34" charset="0"/>
              </a:defRPr>
            </a:lvl1pPr>
          </a:lstStyle>
          <a:p>
            <a:pPr lvl="0"/>
            <a:r>
              <a:rPr lang="de-DE"/>
              <a:t>Mastertextformat bearbeiten</a:t>
            </a:r>
          </a:p>
        </p:txBody>
      </p:sp>
      <p:sp>
        <p:nvSpPr>
          <p:cNvPr id="88" name="Titel 1">
            <a:extLst>
              <a:ext uri="{FF2B5EF4-FFF2-40B4-BE49-F238E27FC236}">
                <a16:creationId xmlns:a16="http://schemas.microsoft.com/office/drawing/2014/main" id="{6E836B88-8EA3-4A7F-B203-70EF11B1F682}"/>
              </a:ext>
            </a:extLst>
          </p:cNvPr>
          <p:cNvSpPr>
            <a:spLocks noGrp="1"/>
          </p:cNvSpPr>
          <p:nvPr>
            <p:ph type="title" hasCustomPrompt="1"/>
          </p:nvPr>
        </p:nvSpPr>
        <p:spPr>
          <a:xfrm>
            <a:off x="518319" y="1052513"/>
            <a:ext cx="9670705" cy="1370806"/>
          </a:xfrm>
        </p:spPr>
        <p:txBody>
          <a:bodyPr wrap="square" anchor="b" anchorCtr="0">
            <a:noAutofit/>
          </a:bodyPr>
          <a:lstStyle>
            <a:lvl1pPr>
              <a:lnSpc>
                <a:spcPts val="5000"/>
              </a:lnSpc>
              <a:defRPr sz="4500" b="1">
                <a:latin typeface="ZEISS Frutiger Next W1G"/>
                <a:cs typeface="Arial" panose="020B0604020202020204" pitchFamily="34" charset="0"/>
              </a:defRPr>
            </a:lvl1pPr>
          </a:lstStyle>
          <a:p>
            <a:r>
              <a:rPr lang="de-DE"/>
              <a:t>Mastertitelformat </a:t>
            </a:r>
            <a:br>
              <a:rPr lang="de-DE"/>
            </a:br>
            <a:r>
              <a:rPr lang="de-DE"/>
              <a:t>bearbeiten</a:t>
            </a:r>
          </a:p>
        </p:txBody>
      </p:sp>
    </p:spTree>
    <p:extLst>
      <p:ext uri="{BB962C8B-B14F-4D97-AF65-F5344CB8AC3E}">
        <p14:creationId xmlns:p14="http://schemas.microsoft.com/office/powerpoint/2010/main" val="12257215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Kapiteltrenner | ohne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hasCustomPrompt="1"/>
          </p:nvPr>
        </p:nvSpPr>
        <p:spPr>
          <a:xfrm>
            <a:off x="518319" y="1628776"/>
            <a:ext cx="8663775" cy="1962150"/>
          </a:xfrm>
        </p:spPr>
        <p:txBody>
          <a:bodyPr anchor="b" anchorCtr="0">
            <a:noAutofit/>
          </a:bodyPr>
          <a:lstStyle>
            <a:lvl1pPr>
              <a:lnSpc>
                <a:spcPts val="5000"/>
              </a:lnSpc>
              <a:defRPr sz="4500" b="1">
                <a:latin typeface="ZEISS Frutiger Next W1G"/>
                <a:cs typeface="Arial" panose="020B0604020202020204" pitchFamily="34" charset="0"/>
              </a:defRPr>
            </a:lvl1pPr>
          </a:lstStyle>
          <a:p>
            <a:r>
              <a:rPr lang="de-DE"/>
              <a:t>Mastertitelformat </a:t>
            </a:r>
            <a:br>
              <a:rPr lang="de-DE"/>
            </a:br>
            <a:r>
              <a:rPr lang="de-DE"/>
              <a:t>bearbeiten</a:t>
            </a:r>
          </a:p>
        </p:txBody>
      </p:sp>
      <p:sp>
        <p:nvSpPr>
          <p:cNvPr id="8" name="Textplatzhalter 8">
            <a:extLst>
              <a:ext uri="{FF2B5EF4-FFF2-40B4-BE49-F238E27FC236}">
                <a16:creationId xmlns:a16="http://schemas.microsoft.com/office/drawing/2014/main" id="{5D536C54-AD88-4971-B5AC-E8FD5A475273}"/>
              </a:ext>
            </a:extLst>
          </p:cNvPr>
          <p:cNvSpPr>
            <a:spLocks noGrp="1"/>
          </p:cNvSpPr>
          <p:nvPr>
            <p:ph type="body" sz="quarter" idx="56" hasCustomPrompt="1"/>
          </p:nvPr>
        </p:nvSpPr>
        <p:spPr>
          <a:xfrm>
            <a:off x="518319" y="3849556"/>
            <a:ext cx="8663775" cy="1296124"/>
          </a:xfrm>
        </p:spPr>
        <p:txBody>
          <a:bodyPr wrap="square">
            <a:noAutofit/>
          </a:bodyPr>
          <a:lstStyle>
            <a:lvl1pPr>
              <a:lnSpc>
                <a:spcPct val="120000"/>
              </a:lnSpc>
              <a:spcAft>
                <a:spcPts val="0"/>
              </a:spcAft>
              <a:defRPr sz="2000">
                <a:solidFill>
                  <a:srgbClr val="141E8C"/>
                </a:solidFill>
                <a:latin typeface="ZEISS Frutiger Next W1G"/>
                <a:cs typeface="Arial" panose="020B0604020202020204" pitchFamily="34" charset="0"/>
              </a:defRPr>
            </a:lvl1pPr>
          </a:lstStyle>
          <a:p>
            <a:pPr lvl="0"/>
            <a:r>
              <a:rPr lang="de-DE"/>
              <a:t>Mastertextformat</a:t>
            </a:r>
            <a:br>
              <a:rPr lang="de-DE"/>
            </a:br>
            <a:r>
              <a:rPr lang="de-DE"/>
              <a:t>bearbeiten</a:t>
            </a:r>
          </a:p>
        </p:txBody>
      </p:sp>
      <p:grpSp>
        <p:nvGrpSpPr>
          <p:cNvPr id="39" name="Gruppieren 38">
            <a:extLst>
              <a:ext uri="{FF2B5EF4-FFF2-40B4-BE49-F238E27FC236}">
                <a16:creationId xmlns:a16="http://schemas.microsoft.com/office/drawing/2014/main" id="{C8851101-CF90-45DE-817D-DF9BD412A63A}"/>
              </a:ext>
            </a:extLst>
          </p:cNvPr>
          <p:cNvGrpSpPr/>
          <p:nvPr userDrawn="1"/>
        </p:nvGrpSpPr>
        <p:grpSpPr>
          <a:xfrm>
            <a:off x="299275" y="-697714"/>
            <a:ext cx="11375605" cy="411956"/>
            <a:chOff x="299275" y="6944502"/>
            <a:chExt cx="11375605" cy="411956"/>
          </a:xfrm>
        </p:grpSpPr>
        <p:grpSp>
          <p:nvGrpSpPr>
            <p:cNvPr id="40" name="Gruppieren 39">
              <a:extLst>
                <a:ext uri="{FF2B5EF4-FFF2-40B4-BE49-F238E27FC236}">
                  <a16:creationId xmlns:a16="http://schemas.microsoft.com/office/drawing/2014/main" id="{8D2CB68E-0BEE-4444-89BC-9224017D201A}"/>
                </a:ext>
              </a:extLst>
            </p:cNvPr>
            <p:cNvGrpSpPr/>
            <p:nvPr/>
          </p:nvGrpSpPr>
          <p:grpSpPr>
            <a:xfrm rot="16200000">
              <a:off x="201628" y="7042149"/>
              <a:ext cx="411956" cy="216662"/>
              <a:chOff x="-615197" y="4295013"/>
              <a:chExt cx="411956" cy="216662"/>
            </a:xfrm>
          </p:grpSpPr>
          <p:cxnSp>
            <p:nvCxnSpPr>
              <p:cNvPr id="69" name="Gerader Verbinder 68">
                <a:extLst>
                  <a:ext uri="{FF2B5EF4-FFF2-40B4-BE49-F238E27FC236}">
                    <a16:creationId xmlns:a16="http://schemas.microsoft.com/office/drawing/2014/main" id="{3B55A628-F151-42E2-BBA7-A77BB263AC29}"/>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5B3ACA54-FBF7-468C-89BF-B92229E0E6A8}"/>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nvGrpSpPr>
            <p:cNvPr id="41" name="Gruppieren 40">
              <a:extLst>
                <a:ext uri="{FF2B5EF4-FFF2-40B4-BE49-F238E27FC236}">
                  <a16:creationId xmlns:a16="http://schemas.microsoft.com/office/drawing/2014/main" id="{A985EFA5-C3EC-41F4-BA42-582F6BBB87DC}"/>
                </a:ext>
              </a:extLst>
            </p:cNvPr>
            <p:cNvGrpSpPr/>
            <p:nvPr/>
          </p:nvGrpSpPr>
          <p:grpSpPr>
            <a:xfrm rot="16200000">
              <a:off x="5637228" y="7042149"/>
              <a:ext cx="411956" cy="216662"/>
              <a:chOff x="-615197" y="4295013"/>
              <a:chExt cx="411956" cy="216662"/>
            </a:xfrm>
          </p:grpSpPr>
          <p:cxnSp>
            <p:nvCxnSpPr>
              <p:cNvPr id="49" name="Gerader Verbinder 48">
                <a:extLst>
                  <a:ext uri="{FF2B5EF4-FFF2-40B4-BE49-F238E27FC236}">
                    <a16:creationId xmlns:a16="http://schemas.microsoft.com/office/drawing/2014/main" id="{A53B3EC3-5408-4A64-9457-103627E8E871}"/>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Textfeld 51">
                <a:extLst>
                  <a:ext uri="{FF2B5EF4-FFF2-40B4-BE49-F238E27FC236}">
                    <a16:creationId xmlns:a16="http://schemas.microsoft.com/office/drawing/2014/main" id="{AD70F783-A807-4089-AFCC-84B3D36AF8FF}"/>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grpSp>
          <p:nvGrpSpPr>
            <p:cNvPr id="42" name="Gruppieren 41">
              <a:extLst>
                <a:ext uri="{FF2B5EF4-FFF2-40B4-BE49-F238E27FC236}">
                  <a16:creationId xmlns:a16="http://schemas.microsoft.com/office/drawing/2014/main" id="{5E00F1D3-083C-419C-A05F-6E840773F8C6}"/>
                </a:ext>
              </a:extLst>
            </p:cNvPr>
            <p:cNvGrpSpPr/>
            <p:nvPr/>
          </p:nvGrpSpPr>
          <p:grpSpPr>
            <a:xfrm rot="5400000">
              <a:off x="6093326" y="7042149"/>
              <a:ext cx="411956" cy="216662"/>
              <a:chOff x="-615197" y="4346120"/>
              <a:chExt cx="411956" cy="216662"/>
            </a:xfrm>
          </p:grpSpPr>
          <p:cxnSp>
            <p:nvCxnSpPr>
              <p:cNvPr id="47" name="Gerader Verbinder 46">
                <a:extLst>
                  <a:ext uri="{FF2B5EF4-FFF2-40B4-BE49-F238E27FC236}">
                    <a16:creationId xmlns:a16="http://schemas.microsoft.com/office/drawing/2014/main" id="{73F688A9-A34C-4E99-8443-41FD9DD554DF}"/>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Textfeld 47">
                <a:extLst>
                  <a:ext uri="{FF2B5EF4-FFF2-40B4-BE49-F238E27FC236}">
                    <a16:creationId xmlns:a16="http://schemas.microsoft.com/office/drawing/2014/main" id="{054EA4E0-2D3B-40AF-93E7-C4E69DB886F1}"/>
                  </a:ext>
                </a:extLst>
              </p:cNvPr>
              <p:cNvSpPr txBox="1"/>
              <p:nvPr/>
            </p:nvSpPr>
            <p:spPr>
              <a:xfrm rot="10800000">
                <a:off x="-615197" y="4346120"/>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cxnSp>
          <p:nvCxnSpPr>
            <p:cNvPr id="43" name="Gerader Verbinder 42">
              <a:extLst>
                <a:ext uri="{FF2B5EF4-FFF2-40B4-BE49-F238E27FC236}">
                  <a16:creationId xmlns:a16="http://schemas.microsoft.com/office/drawing/2014/main" id="{4EAC7821-B6F6-4B00-93DA-718D985BB18F}"/>
                </a:ext>
              </a:extLst>
            </p:cNvPr>
            <p:cNvCxnSpPr>
              <a:cxnSpLocks/>
            </p:cNvCxnSpPr>
            <p:nvPr/>
          </p:nvCxnSpPr>
          <p:spPr>
            <a:xfrm rot="16200000">
              <a:off x="5890022" y="7150480"/>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4" name="Gruppieren 43">
              <a:extLst>
                <a:ext uri="{FF2B5EF4-FFF2-40B4-BE49-F238E27FC236}">
                  <a16:creationId xmlns:a16="http://schemas.microsoft.com/office/drawing/2014/main" id="{D6D8242D-E611-482B-B644-E20F99E6399A}"/>
                </a:ext>
              </a:extLst>
            </p:cNvPr>
            <p:cNvGrpSpPr/>
            <p:nvPr/>
          </p:nvGrpSpPr>
          <p:grpSpPr>
            <a:xfrm rot="16200000">
              <a:off x="11360571" y="7042149"/>
              <a:ext cx="411956" cy="216662"/>
              <a:chOff x="-615197" y="4295013"/>
              <a:chExt cx="411956" cy="216662"/>
            </a:xfrm>
          </p:grpSpPr>
          <p:cxnSp>
            <p:nvCxnSpPr>
              <p:cNvPr id="45" name="Gerader Verbinder 44">
                <a:extLst>
                  <a:ext uri="{FF2B5EF4-FFF2-40B4-BE49-F238E27FC236}">
                    <a16:creationId xmlns:a16="http://schemas.microsoft.com/office/drawing/2014/main" id="{DEF62B53-F861-4084-A4DA-5B9E4CEC2521}"/>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Textfeld 45">
                <a:extLst>
                  <a:ext uri="{FF2B5EF4-FFF2-40B4-BE49-F238E27FC236}">
                    <a16:creationId xmlns:a16="http://schemas.microsoft.com/office/drawing/2014/main" id="{8A70FEE0-2D07-4BA1-8837-99C7CB1AD7D9}"/>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grpSp>
        <p:nvGrpSpPr>
          <p:cNvPr id="87" name="Gruppieren 86">
            <a:extLst>
              <a:ext uri="{FF2B5EF4-FFF2-40B4-BE49-F238E27FC236}">
                <a16:creationId xmlns:a16="http://schemas.microsoft.com/office/drawing/2014/main" id="{BE8C256F-FE6B-489E-8694-29A0B807A6FE}"/>
              </a:ext>
            </a:extLst>
          </p:cNvPr>
          <p:cNvGrpSpPr/>
          <p:nvPr userDrawn="1"/>
        </p:nvGrpSpPr>
        <p:grpSpPr>
          <a:xfrm>
            <a:off x="-697714" y="80201"/>
            <a:ext cx="411956" cy="6729801"/>
            <a:chOff x="-502267" y="80201"/>
            <a:chExt cx="411956" cy="6729801"/>
          </a:xfrm>
        </p:grpSpPr>
        <p:grpSp>
          <p:nvGrpSpPr>
            <p:cNvPr id="88" name="Gruppieren 87">
              <a:extLst>
                <a:ext uri="{FF2B5EF4-FFF2-40B4-BE49-F238E27FC236}">
                  <a16:creationId xmlns:a16="http://schemas.microsoft.com/office/drawing/2014/main" id="{0A234D09-56CF-476A-8C7A-D13F996B21F8}"/>
                </a:ext>
              </a:extLst>
            </p:cNvPr>
            <p:cNvGrpSpPr/>
            <p:nvPr/>
          </p:nvGrpSpPr>
          <p:grpSpPr>
            <a:xfrm>
              <a:off x="-502267" y="6593340"/>
              <a:ext cx="411956" cy="216662"/>
              <a:chOff x="-615197" y="4452994"/>
              <a:chExt cx="411956" cy="216662"/>
            </a:xfrm>
          </p:grpSpPr>
          <p:sp>
            <p:nvSpPr>
              <p:cNvPr id="104" name="Textfeld 103">
                <a:extLst>
                  <a:ext uri="{FF2B5EF4-FFF2-40B4-BE49-F238E27FC236}">
                    <a16:creationId xmlns:a16="http://schemas.microsoft.com/office/drawing/2014/main" id="{CEFFCD59-9BA6-4C0F-9567-D5111D0929F1}"/>
                  </a:ext>
                </a:extLst>
              </p:cNvPr>
              <p:cNvSpPr txBox="1"/>
              <p:nvPr/>
            </p:nvSpPr>
            <p:spPr>
              <a:xfrm>
                <a:off x="-615197" y="4452994"/>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92</a:t>
                </a:r>
              </a:p>
            </p:txBody>
          </p:sp>
          <p:cxnSp>
            <p:nvCxnSpPr>
              <p:cNvPr id="105" name="Gerader Verbinder 104">
                <a:extLst>
                  <a:ext uri="{FF2B5EF4-FFF2-40B4-BE49-F238E27FC236}">
                    <a16:creationId xmlns:a16="http://schemas.microsoft.com/office/drawing/2014/main" id="{AB5C5361-5F0F-482A-8470-DEFDBCA2FC5A}"/>
                  </a:ext>
                </a:extLst>
              </p:cNvPr>
              <p:cNvCxnSpPr>
                <a:cxnSpLocks/>
              </p:cNvCxnSpPr>
              <p:nvPr/>
            </p:nvCxnSpPr>
            <p:spPr>
              <a:xfrm>
                <a:off x="-615197" y="4497389"/>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9" name="Gruppieren 88">
              <a:extLst>
                <a:ext uri="{FF2B5EF4-FFF2-40B4-BE49-F238E27FC236}">
                  <a16:creationId xmlns:a16="http://schemas.microsoft.com/office/drawing/2014/main" id="{39BBFCE8-6F76-45B8-85A8-68C6D7EE2D83}"/>
                </a:ext>
              </a:extLst>
            </p:cNvPr>
            <p:cNvGrpSpPr/>
            <p:nvPr/>
          </p:nvGrpSpPr>
          <p:grpSpPr>
            <a:xfrm>
              <a:off x="-502267" y="5876163"/>
              <a:ext cx="411956" cy="216662"/>
              <a:chOff x="-615197" y="4295013"/>
              <a:chExt cx="411956" cy="216662"/>
            </a:xfrm>
          </p:grpSpPr>
          <p:cxnSp>
            <p:nvCxnSpPr>
              <p:cNvPr id="102" name="Gerader Verbinder 101">
                <a:extLst>
                  <a:ext uri="{FF2B5EF4-FFF2-40B4-BE49-F238E27FC236}">
                    <a16:creationId xmlns:a16="http://schemas.microsoft.com/office/drawing/2014/main" id="{805C3138-5CEA-45F9-94CB-6E51077285C5}"/>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3" name="Textfeld 102">
                <a:extLst>
                  <a:ext uri="{FF2B5EF4-FFF2-40B4-BE49-F238E27FC236}">
                    <a16:creationId xmlns:a16="http://schemas.microsoft.com/office/drawing/2014/main" id="{0E527EA5-913D-4F56-8DB9-C5A075067066}"/>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7,40</a:t>
                </a:r>
              </a:p>
            </p:txBody>
          </p:sp>
        </p:grpSp>
        <p:grpSp>
          <p:nvGrpSpPr>
            <p:cNvPr id="90" name="Gruppieren 89">
              <a:extLst>
                <a:ext uri="{FF2B5EF4-FFF2-40B4-BE49-F238E27FC236}">
                  <a16:creationId xmlns:a16="http://schemas.microsoft.com/office/drawing/2014/main" id="{A4022789-2EEE-46C0-9954-0D2504BEA68B}"/>
                </a:ext>
              </a:extLst>
            </p:cNvPr>
            <p:cNvGrpSpPr/>
            <p:nvPr/>
          </p:nvGrpSpPr>
          <p:grpSpPr>
            <a:xfrm>
              <a:off x="-502267" y="3212338"/>
              <a:ext cx="411956" cy="216662"/>
              <a:chOff x="-615197" y="4295013"/>
              <a:chExt cx="411956" cy="216662"/>
            </a:xfrm>
          </p:grpSpPr>
          <p:cxnSp>
            <p:nvCxnSpPr>
              <p:cNvPr id="100" name="Gerader Verbinder 99">
                <a:extLst>
                  <a:ext uri="{FF2B5EF4-FFF2-40B4-BE49-F238E27FC236}">
                    <a16:creationId xmlns:a16="http://schemas.microsoft.com/office/drawing/2014/main" id="{675E44F3-0329-4CB1-B406-448DCEDA2A89}"/>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1" name="Textfeld 100">
                <a:extLst>
                  <a:ext uri="{FF2B5EF4-FFF2-40B4-BE49-F238E27FC236}">
                    <a16:creationId xmlns:a16="http://schemas.microsoft.com/office/drawing/2014/main" id="{158BE42F-E470-47C9-A978-3D3BE2B11B0A}"/>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00</a:t>
                </a:r>
              </a:p>
            </p:txBody>
          </p:sp>
        </p:grpSp>
        <p:grpSp>
          <p:nvGrpSpPr>
            <p:cNvPr id="91" name="Gruppieren 90">
              <a:extLst>
                <a:ext uri="{FF2B5EF4-FFF2-40B4-BE49-F238E27FC236}">
                  <a16:creationId xmlns:a16="http://schemas.microsoft.com/office/drawing/2014/main" id="{7A83B29F-BC79-418C-B072-8FAA9F359DC1}"/>
                </a:ext>
              </a:extLst>
            </p:cNvPr>
            <p:cNvGrpSpPr/>
            <p:nvPr/>
          </p:nvGrpSpPr>
          <p:grpSpPr>
            <a:xfrm>
              <a:off x="-502267" y="835851"/>
              <a:ext cx="411956" cy="216662"/>
              <a:chOff x="-615197" y="4295013"/>
              <a:chExt cx="411956" cy="216662"/>
            </a:xfrm>
          </p:grpSpPr>
          <p:cxnSp>
            <p:nvCxnSpPr>
              <p:cNvPr id="98" name="Gerader Verbinder 97">
                <a:extLst>
                  <a:ext uri="{FF2B5EF4-FFF2-40B4-BE49-F238E27FC236}">
                    <a16:creationId xmlns:a16="http://schemas.microsoft.com/office/drawing/2014/main" id="{6927F45F-C9F3-40DC-ABD3-E8D4F1BE57CF}"/>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id="{A75BB589-CBAF-474E-B7A3-D34833594677}"/>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6,60</a:t>
                </a:r>
              </a:p>
            </p:txBody>
          </p:sp>
        </p:grpSp>
        <p:grpSp>
          <p:nvGrpSpPr>
            <p:cNvPr id="92" name="Gruppieren 91">
              <a:extLst>
                <a:ext uri="{FF2B5EF4-FFF2-40B4-BE49-F238E27FC236}">
                  <a16:creationId xmlns:a16="http://schemas.microsoft.com/office/drawing/2014/main" id="{A98127A2-7281-42CA-9A29-487EE392A705}"/>
                </a:ext>
              </a:extLst>
            </p:cNvPr>
            <p:cNvGrpSpPr/>
            <p:nvPr/>
          </p:nvGrpSpPr>
          <p:grpSpPr>
            <a:xfrm>
              <a:off x="-502267" y="1412113"/>
              <a:ext cx="411956" cy="216662"/>
              <a:chOff x="-615197" y="4295013"/>
              <a:chExt cx="411956" cy="216662"/>
            </a:xfrm>
          </p:grpSpPr>
          <p:cxnSp>
            <p:nvCxnSpPr>
              <p:cNvPr id="96" name="Gerader Verbinder 95">
                <a:extLst>
                  <a:ext uri="{FF2B5EF4-FFF2-40B4-BE49-F238E27FC236}">
                    <a16:creationId xmlns:a16="http://schemas.microsoft.com/office/drawing/2014/main" id="{A5CBCAAA-AA82-498E-94D9-7A8D55C9A275}"/>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7" name="Textfeld 96">
                <a:extLst>
                  <a:ext uri="{FF2B5EF4-FFF2-40B4-BE49-F238E27FC236}">
                    <a16:creationId xmlns:a16="http://schemas.microsoft.com/office/drawing/2014/main" id="{08DED87C-FF0B-4F72-A152-6AAE3EB3FE74}"/>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5,00</a:t>
                </a:r>
              </a:p>
            </p:txBody>
          </p:sp>
        </p:grpSp>
        <p:grpSp>
          <p:nvGrpSpPr>
            <p:cNvPr id="93" name="Gruppieren 92">
              <a:extLst>
                <a:ext uri="{FF2B5EF4-FFF2-40B4-BE49-F238E27FC236}">
                  <a16:creationId xmlns:a16="http://schemas.microsoft.com/office/drawing/2014/main" id="{A0CAE587-CBBC-46D7-B547-9410C2855CF1}"/>
                </a:ext>
              </a:extLst>
            </p:cNvPr>
            <p:cNvGrpSpPr/>
            <p:nvPr/>
          </p:nvGrpSpPr>
          <p:grpSpPr>
            <a:xfrm>
              <a:off x="-502267" y="80201"/>
              <a:ext cx="411956" cy="216662"/>
              <a:chOff x="-615197" y="4258501"/>
              <a:chExt cx="411956" cy="216662"/>
            </a:xfrm>
          </p:grpSpPr>
          <p:cxnSp>
            <p:nvCxnSpPr>
              <p:cNvPr id="94" name="Gerader Verbinder 93">
                <a:extLst>
                  <a:ext uri="{FF2B5EF4-FFF2-40B4-BE49-F238E27FC236}">
                    <a16:creationId xmlns:a16="http://schemas.microsoft.com/office/drawing/2014/main" id="{F07CD434-12AE-423A-AA17-A75970629D9F}"/>
                  </a:ext>
                </a:extLst>
              </p:cNvPr>
              <p:cNvCxnSpPr>
                <a:cxnSpLocks/>
              </p:cNvCxnSpPr>
              <p:nvPr/>
            </p:nvCxnSpPr>
            <p:spPr>
              <a:xfrm>
                <a:off x="-615197" y="4475163"/>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5" name="Textfeld 94">
                <a:extLst>
                  <a:ext uri="{FF2B5EF4-FFF2-40B4-BE49-F238E27FC236}">
                    <a16:creationId xmlns:a16="http://schemas.microsoft.com/office/drawing/2014/main" id="{ACDE4BFD-2CD6-4C92-95D4-E3D45229292A}"/>
                  </a:ext>
                </a:extLst>
              </p:cNvPr>
              <p:cNvSpPr txBox="1"/>
              <p:nvPr/>
            </p:nvSpPr>
            <p:spPr>
              <a:xfrm>
                <a:off x="-615197" y="4258501"/>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70</a:t>
                </a:r>
              </a:p>
            </p:txBody>
          </p:sp>
        </p:grpSp>
      </p:grpSp>
      <p:pic>
        <p:nvPicPr>
          <p:cNvPr id="3" name="Grafik 2">
            <a:extLst>
              <a:ext uri="{FF2B5EF4-FFF2-40B4-BE49-F238E27FC236}">
                <a16:creationId xmlns:a16="http://schemas.microsoft.com/office/drawing/2014/main" id="{CC3594EE-A331-C02C-BCD7-3265738511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27067" y="188532"/>
            <a:ext cx="1241677" cy="518400"/>
          </a:xfrm>
          <a:prstGeom prst="rect">
            <a:avLst/>
          </a:prstGeom>
        </p:spPr>
      </p:pic>
    </p:spTree>
    <p:extLst>
      <p:ext uri="{BB962C8B-B14F-4D97-AF65-F5344CB8AC3E}">
        <p14:creationId xmlns:p14="http://schemas.microsoft.com/office/powerpoint/2010/main" val="4238673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9" name="Textplatzhalter 8">
            <a:extLst>
              <a:ext uri="{FF2B5EF4-FFF2-40B4-BE49-F238E27FC236}">
                <a16:creationId xmlns:a16="http://schemas.microsoft.com/office/drawing/2014/main" id="{FCDF64D8-43C9-4659-8FEB-D25E62DE2319}"/>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4" name="Textplatzhalter 3">
            <a:extLst>
              <a:ext uri="{FF2B5EF4-FFF2-40B4-BE49-F238E27FC236}">
                <a16:creationId xmlns:a16="http://schemas.microsoft.com/office/drawing/2014/main" id="{321D1B0B-1BA8-4136-AF7B-59A487C42E1D}"/>
              </a:ext>
            </a:extLst>
          </p:cNvPr>
          <p:cNvSpPr>
            <a:spLocks noGrp="1"/>
          </p:cNvSpPr>
          <p:nvPr>
            <p:ph type="body" sz="quarter" idx="63"/>
          </p:nvPr>
        </p:nvSpPr>
        <p:spPr>
          <a:xfrm>
            <a:off x="518319" y="1631837"/>
            <a:ext cx="11160000"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0" name="Gerade Verbindung 71">
            <a:extLst>
              <a:ext uri="{FF2B5EF4-FFF2-40B4-BE49-F238E27FC236}">
                <a16:creationId xmlns:a16="http://schemas.microsoft.com/office/drawing/2014/main" id="{06BCC614-210D-45D8-85A7-4DB4D413AA8E}"/>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1D8749DC-32EC-49E7-98D8-A0B4F1E673A7}"/>
              </a:ext>
            </a:extLst>
          </p:cNvPr>
          <p:cNvSpPr>
            <a:spLocks noGrp="1"/>
          </p:cNvSpPr>
          <p:nvPr>
            <p:ph type="dt" sz="half" idx="64"/>
          </p:nvPr>
        </p:nvSpPr>
        <p:spPr/>
        <p:txBody>
          <a:bodyPr/>
          <a:lstStyle/>
          <a:p>
            <a:fld id="{3823075D-91E6-43EC-89B5-724042DC203F}" type="datetime4">
              <a:rPr lang="de-DE" smtClean="0"/>
              <a:t>17. Februar 2025</a:t>
            </a:fld>
            <a:endParaRPr lang="de-DE"/>
          </a:p>
        </p:txBody>
      </p:sp>
      <p:sp>
        <p:nvSpPr>
          <p:cNvPr id="11" name="Foliennummernplatzhalter 10">
            <a:extLst>
              <a:ext uri="{FF2B5EF4-FFF2-40B4-BE49-F238E27FC236}">
                <a16:creationId xmlns:a16="http://schemas.microsoft.com/office/drawing/2014/main" id="{A044AFA5-5C75-4E42-9ABE-DF2BA41D37CC}"/>
              </a:ext>
            </a:extLst>
          </p:cNvPr>
          <p:cNvSpPr>
            <a:spLocks noGrp="1"/>
          </p:cNvSpPr>
          <p:nvPr>
            <p:ph type="sldNum" sz="quarter" idx="66"/>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1595020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folie | 2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0" name="Textplatzhalter 8">
            <a:extLst>
              <a:ext uri="{FF2B5EF4-FFF2-40B4-BE49-F238E27FC236}">
                <a16:creationId xmlns:a16="http://schemas.microsoft.com/office/drawing/2014/main" id="{162F79FD-685F-4AD0-AD07-F82DCA600046}"/>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1" name="Textplatzhalter 3">
            <a:extLst>
              <a:ext uri="{FF2B5EF4-FFF2-40B4-BE49-F238E27FC236}">
                <a16:creationId xmlns:a16="http://schemas.microsoft.com/office/drawing/2014/main" id="{12A02888-F9A5-43B4-9619-58072584F513}"/>
              </a:ext>
            </a:extLst>
          </p:cNvPr>
          <p:cNvSpPr>
            <a:spLocks noGrp="1"/>
          </p:cNvSpPr>
          <p:nvPr>
            <p:ph type="body" sz="quarter" idx="64"/>
          </p:nvPr>
        </p:nvSpPr>
        <p:spPr>
          <a:xfrm>
            <a:off x="518319" y="1631837"/>
            <a:ext cx="5433219"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3">
            <a:extLst>
              <a:ext uri="{FF2B5EF4-FFF2-40B4-BE49-F238E27FC236}">
                <a16:creationId xmlns:a16="http://schemas.microsoft.com/office/drawing/2014/main" id="{D03185D6-5C86-4FFC-9297-944DDAF3BE36}"/>
              </a:ext>
            </a:extLst>
          </p:cNvPr>
          <p:cNvSpPr>
            <a:spLocks noGrp="1"/>
          </p:cNvSpPr>
          <p:nvPr>
            <p:ph type="body" sz="quarter" idx="65"/>
          </p:nvPr>
        </p:nvSpPr>
        <p:spPr>
          <a:xfrm>
            <a:off x="6242844" y="1631837"/>
            <a:ext cx="5433219"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4" name="Gerade Verbindung 71">
            <a:extLst>
              <a:ext uri="{FF2B5EF4-FFF2-40B4-BE49-F238E27FC236}">
                <a16:creationId xmlns:a16="http://schemas.microsoft.com/office/drawing/2014/main" id="{3E45FDC8-FB31-4EFC-A85C-0EDC909275BC}"/>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Datumsplatzhalter 5">
            <a:extLst>
              <a:ext uri="{FF2B5EF4-FFF2-40B4-BE49-F238E27FC236}">
                <a16:creationId xmlns:a16="http://schemas.microsoft.com/office/drawing/2014/main" id="{9E81E40B-FF71-446B-8787-2BAEF4637756}"/>
              </a:ext>
            </a:extLst>
          </p:cNvPr>
          <p:cNvSpPr>
            <a:spLocks noGrp="1"/>
          </p:cNvSpPr>
          <p:nvPr>
            <p:ph type="dt" sz="half" idx="66"/>
          </p:nvPr>
        </p:nvSpPr>
        <p:spPr/>
        <p:txBody>
          <a:bodyPr/>
          <a:lstStyle/>
          <a:p>
            <a:fld id="{8A8CEE53-2C13-4F5F-B622-C12C798F824E}" type="datetime4">
              <a:rPr lang="de-DE" smtClean="0"/>
              <a:t>17. Februar 2025</a:t>
            </a:fld>
            <a:endParaRPr lang="de-DE"/>
          </a:p>
        </p:txBody>
      </p:sp>
      <p:sp>
        <p:nvSpPr>
          <p:cNvPr id="8" name="Foliennummernplatzhalter 7">
            <a:extLst>
              <a:ext uri="{FF2B5EF4-FFF2-40B4-BE49-F238E27FC236}">
                <a16:creationId xmlns:a16="http://schemas.microsoft.com/office/drawing/2014/main" id="{9DBA4F64-898B-4F49-A973-63491C3FBCB1}"/>
              </a:ext>
            </a:extLst>
          </p:cNvPr>
          <p:cNvSpPr>
            <a:spLocks noGrp="1"/>
          </p:cNvSpPr>
          <p:nvPr>
            <p:ph type="sldNum" sz="quarter" idx="68"/>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1107517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2.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B5DF379B-2F7B-4B88-BC16-FA39CEB2C3FA}"/>
              </a:ext>
            </a:extLst>
          </p:cNvPr>
          <p:cNvSpPr>
            <a:spLocks noGrp="1"/>
          </p:cNvSpPr>
          <p:nvPr>
            <p:ph type="title"/>
          </p:nvPr>
        </p:nvSpPr>
        <p:spPr>
          <a:xfrm>
            <a:off x="518319" y="299633"/>
            <a:ext cx="8736776" cy="369332"/>
          </a:xfrm>
          <a:prstGeom prst="rect">
            <a:avLst/>
          </a:prstGeom>
        </p:spPr>
        <p:txBody>
          <a:bodyPr vert="horz" wrap="square" lIns="0" tIns="0" rIns="0" bIns="0" rtlCol="0" anchor="t" anchorCtr="0">
            <a:spAutoFit/>
          </a:bodyPr>
          <a:lstStyle/>
          <a:p>
            <a:r>
              <a:rPr lang="de-DE"/>
              <a:t>Mastertitelformat bearbeiten</a:t>
            </a:r>
          </a:p>
        </p:txBody>
      </p:sp>
      <p:sp>
        <p:nvSpPr>
          <p:cNvPr id="3" name="Textplatzhalter 2">
            <a:extLst>
              <a:ext uri="{FF2B5EF4-FFF2-40B4-BE49-F238E27FC236}">
                <a16:creationId xmlns:a16="http://schemas.microsoft.com/office/drawing/2014/main" id="{9BFF28EB-5BBB-48FC-BE84-2AF18E9A250D}"/>
              </a:ext>
            </a:extLst>
          </p:cNvPr>
          <p:cNvSpPr>
            <a:spLocks noGrp="1"/>
          </p:cNvSpPr>
          <p:nvPr>
            <p:ph type="body" idx="1"/>
          </p:nvPr>
        </p:nvSpPr>
        <p:spPr>
          <a:xfrm>
            <a:off x="518319" y="1631155"/>
            <a:ext cx="11160000" cy="446400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Datumsplatzhalter 3">
            <a:extLst>
              <a:ext uri="{FF2B5EF4-FFF2-40B4-BE49-F238E27FC236}">
                <a16:creationId xmlns:a16="http://schemas.microsoft.com/office/drawing/2014/main" id="{39AF8200-DF6F-4A4E-B92D-A281BB9406D9}"/>
              </a:ext>
            </a:extLst>
          </p:cNvPr>
          <p:cNvSpPr>
            <a:spLocks noGrp="1"/>
          </p:cNvSpPr>
          <p:nvPr>
            <p:ph type="dt" sz="half" idx="2"/>
          </p:nvPr>
        </p:nvSpPr>
        <p:spPr>
          <a:xfrm>
            <a:off x="299274" y="6579170"/>
            <a:ext cx="1085233" cy="230832"/>
          </a:xfrm>
          <a:prstGeom prst="rect">
            <a:avLst/>
          </a:prstGeom>
        </p:spPr>
        <p:txBody>
          <a:bodyPr vert="horz" wrap="none" lIns="0" tIns="0" rIns="0" bIns="0" rtlCol="0" anchor="t" anchorCtr="0">
            <a:spAutoFit/>
          </a:bodyPr>
          <a:lstStyle>
            <a:lvl1pPr algn="l">
              <a:defRPr sz="1500">
                <a:solidFill>
                  <a:schemeClr val="tx1"/>
                </a:solidFill>
                <a:latin typeface="+mn-lt"/>
                <a:cs typeface="ZEISS Frutiger Next W1G Lt" panose="020B0302030202020203" pitchFamily="34" charset="0"/>
              </a:defRPr>
            </a:lvl1pPr>
          </a:lstStyle>
          <a:p>
            <a:fld id="{FC0C3420-A45B-4223-8056-BE47BA32B9EC}" type="datetime4">
              <a:rPr lang="de-DE" smtClean="0"/>
              <a:t>17. Februar 2025</a:t>
            </a:fld>
            <a:endParaRPr lang="de-DE"/>
          </a:p>
        </p:txBody>
      </p:sp>
      <p:sp>
        <p:nvSpPr>
          <p:cNvPr id="6" name="Foliennummernplatzhalter 5">
            <a:extLst>
              <a:ext uri="{FF2B5EF4-FFF2-40B4-BE49-F238E27FC236}">
                <a16:creationId xmlns:a16="http://schemas.microsoft.com/office/drawing/2014/main" id="{BB2475B2-8926-4797-977A-DAFF5A6E3C3C}"/>
              </a:ext>
            </a:extLst>
          </p:cNvPr>
          <p:cNvSpPr>
            <a:spLocks noGrp="1"/>
          </p:cNvSpPr>
          <p:nvPr>
            <p:ph type="sldNum" sz="quarter" idx="4"/>
          </p:nvPr>
        </p:nvSpPr>
        <p:spPr>
          <a:xfrm>
            <a:off x="5629204" y="6579170"/>
            <a:ext cx="387928" cy="230832"/>
          </a:xfrm>
          <a:prstGeom prst="rect">
            <a:avLst/>
          </a:prstGeom>
        </p:spPr>
        <p:txBody>
          <a:bodyPr vert="horz" wrap="none" lIns="0" tIns="0" rIns="0" bIns="0" rtlCol="0" anchor="t" anchorCtr="0">
            <a:spAutoFit/>
          </a:bodyPr>
          <a:lstStyle>
            <a:lvl1pPr algn="r">
              <a:defRPr sz="1500" b="1">
                <a:solidFill>
                  <a:schemeClr val="tx1"/>
                </a:solidFill>
                <a:latin typeface="+mn-lt"/>
                <a:cs typeface="ZEISS Frutiger Next W1G Lt" panose="020B0302030202020203" pitchFamily="34" charset="0"/>
              </a:defRPr>
            </a:lvl1pPr>
          </a:lstStyle>
          <a:p>
            <a:fld id="{C6A4AD45-2621-4550-9DC5-4911F1B5FA4D}" type="slidenum">
              <a:rPr lang="de-DE" smtClean="0"/>
              <a:pPr/>
              <a:t>‹Nr.›</a:t>
            </a:fld>
            <a:endParaRPr lang="de-DE"/>
          </a:p>
        </p:txBody>
      </p:sp>
      <p:grpSp>
        <p:nvGrpSpPr>
          <p:cNvPr id="83" name="Gruppieren 82">
            <a:extLst>
              <a:ext uri="{FF2B5EF4-FFF2-40B4-BE49-F238E27FC236}">
                <a16:creationId xmlns:a16="http://schemas.microsoft.com/office/drawing/2014/main" id="{741B6C63-D1F4-4D52-B460-24B79908B8A3}"/>
              </a:ext>
            </a:extLst>
          </p:cNvPr>
          <p:cNvGrpSpPr/>
          <p:nvPr/>
        </p:nvGrpSpPr>
        <p:grpSpPr>
          <a:xfrm>
            <a:off x="299275" y="-697714"/>
            <a:ext cx="11375605" cy="411956"/>
            <a:chOff x="299275" y="6944502"/>
            <a:chExt cx="11375605" cy="411956"/>
          </a:xfrm>
        </p:grpSpPr>
        <p:grpSp>
          <p:nvGrpSpPr>
            <p:cNvPr id="48" name="Gruppieren 47">
              <a:extLst>
                <a:ext uri="{FF2B5EF4-FFF2-40B4-BE49-F238E27FC236}">
                  <a16:creationId xmlns:a16="http://schemas.microsoft.com/office/drawing/2014/main" id="{08382494-4519-4B0A-9102-6CE52486E06E}"/>
                </a:ext>
              </a:extLst>
            </p:cNvPr>
            <p:cNvGrpSpPr/>
            <p:nvPr/>
          </p:nvGrpSpPr>
          <p:grpSpPr>
            <a:xfrm rot="16200000">
              <a:off x="201628" y="7042149"/>
              <a:ext cx="411956" cy="216662"/>
              <a:chOff x="-615197" y="4295013"/>
              <a:chExt cx="411956" cy="216662"/>
            </a:xfrm>
          </p:grpSpPr>
          <p:cxnSp>
            <p:nvCxnSpPr>
              <p:cNvPr id="44" name="Gerader Verbinder 43">
                <a:extLst>
                  <a:ext uri="{FF2B5EF4-FFF2-40B4-BE49-F238E27FC236}">
                    <a16:creationId xmlns:a16="http://schemas.microsoft.com/office/drawing/2014/main" id="{DF92F63F-CC24-485D-9C52-63C5F1B2F5B7}"/>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5" name="Textfeld 44">
                <a:extLst>
                  <a:ext uri="{FF2B5EF4-FFF2-40B4-BE49-F238E27FC236}">
                    <a16:creationId xmlns:a16="http://schemas.microsoft.com/office/drawing/2014/main" id="{314958B9-45FB-434B-A76E-E9105CDE5980}"/>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nvGrpSpPr>
            <p:cNvPr id="49" name="Gruppieren 48">
              <a:extLst>
                <a:ext uri="{FF2B5EF4-FFF2-40B4-BE49-F238E27FC236}">
                  <a16:creationId xmlns:a16="http://schemas.microsoft.com/office/drawing/2014/main" id="{55A2AA88-A3CC-4A9C-9D4F-6E13AD9F18B3}"/>
                </a:ext>
              </a:extLst>
            </p:cNvPr>
            <p:cNvGrpSpPr/>
            <p:nvPr/>
          </p:nvGrpSpPr>
          <p:grpSpPr>
            <a:xfrm rot="16200000">
              <a:off x="5637228" y="7042149"/>
              <a:ext cx="411956" cy="216662"/>
              <a:chOff x="-615197" y="4295013"/>
              <a:chExt cx="411956" cy="216662"/>
            </a:xfrm>
          </p:grpSpPr>
          <p:cxnSp>
            <p:nvCxnSpPr>
              <p:cNvPr id="50" name="Gerader Verbinder 49">
                <a:extLst>
                  <a:ext uri="{FF2B5EF4-FFF2-40B4-BE49-F238E27FC236}">
                    <a16:creationId xmlns:a16="http://schemas.microsoft.com/office/drawing/2014/main" id="{CD195ACE-FABB-4451-84B4-DCC9E983992E}"/>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Textfeld 50">
                <a:extLst>
                  <a:ext uri="{FF2B5EF4-FFF2-40B4-BE49-F238E27FC236}">
                    <a16:creationId xmlns:a16="http://schemas.microsoft.com/office/drawing/2014/main" id="{A7609EAF-FDCF-482B-ABAE-4F42E61E7183}"/>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grpSp>
          <p:nvGrpSpPr>
            <p:cNvPr id="52" name="Gruppieren 51">
              <a:extLst>
                <a:ext uri="{FF2B5EF4-FFF2-40B4-BE49-F238E27FC236}">
                  <a16:creationId xmlns:a16="http://schemas.microsoft.com/office/drawing/2014/main" id="{7BEFA435-A973-4CEA-B2B5-45F218764925}"/>
                </a:ext>
              </a:extLst>
            </p:cNvPr>
            <p:cNvGrpSpPr/>
            <p:nvPr/>
          </p:nvGrpSpPr>
          <p:grpSpPr>
            <a:xfrm rot="5400000">
              <a:off x="6093326" y="7042149"/>
              <a:ext cx="411956" cy="216662"/>
              <a:chOff x="-615197" y="4346120"/>
              <a:chExt cx="411956" cy="216662"/>
            </a:xfrm>
          </p:grpSpPr>
          <p:cxnSp>
            <p:nvCxnSpPr>
              <p:cNvPr id="53" name="Gerader Verbinder 52">
                <a:extLst>
                  <a:ext uri="{FF2B5EF4-FFF2-40B4-BE49-F238E27FC236}">
                    <a16:creationId xmlns:a16="http://schemas.microsoft.com/office/drawing/2014/main" id="{B66456B7-D728-43D9-AF70-5D75514751F0}"/>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9B9AD2F7-1692-4BAE-96CE-9CBB8EB5334F}"/>
                  </a:ext>
                </a:extLst>
              </p:cNvPr>
              <p:cNvSpPr txBox="1"/>
              <p:nvPr/>
            </p:nvSpPr>
            <p:spPr>
              <a:xfrm rot="10800000">
                <a:off x="-615197" y="4346120"/>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cxnSp>
          <p:nvCxnSpPr>
            <p:cNvPr id="56" name="Gerader Verbinder 55">
              <a:extLst>
                <a:ext uri="{FF2B5EF4-FFF2-40B4-BE49-F238E27FC236}">
                  <a16:creationId xmlns:a16="http://schemas.microsoft.com/office/drawing/2014/main" id="{1DF6E441-F63D-4D0D-B05B-73D855900C29}"/>
                </a:ext>
              </a:extLst>
            </p:cNvPr>
            <p:cNvCxnSpPr>
              <a:cxnSpLocks/>
            </p:cNvCxnSpPr>
            <p:nvPr/>
          </p:nvCxnSpPr>
          <p:spPr>
            <a:xfrm rot="16200000">
              <a:off x="5890022" y="7150480"/>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8" name="Gruppieren 57">
              <a:extLst>
                <a:ext uri="{FF2B5EF4-FFF2-40B4-BE49-F238E27FC236}">
                  <a16:creationId xmlns:a16="http://schemas.microsoft.com/office/drawing/2014/main" id="{71031521-32BA-4E76-AF98-5B3C8B219763}"/>
                </a:ext>
              </a:extLst>
            </p:cNvPr>
            <p:cNvGrpSpPr/>
            <p:nvPr/>
          </p:nvGrpSpPr>
          <p:grpSpPr>
            <a:xfrm rot="16200000">
              <a:off x="11360571" y="7042149"/>
              <a:ext cx="411956" cy="216662"/>
              <a:chOff x="-615197" y="4295013"/>
              <a:chExt cx="411956" cy="216662"/>
            </a:xfrm>
          </p:grpSpPr>
          <p:cxnSp>
            <p:nvCxnSpPr>
              <p:cNvPr id="59" name="Gerader Verbinder 58">
                <a:extLst>
                  <a:ext uri="{FF2B5EF4-FFF2-40B4-BE49-F238E27FC236}">
                    <a16:creationId xmlns:a16="http://schemas.microsoft.com/office/drawing/2014/main" id="{65375763-B251-4415-B487-5BE6579DDBB0}"/>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0" name="Textfeld 59">
                <a:extLst>
                  <a:ext uri="{FF2B5EF4-FFF2-40B4-BE49-F238E27FC236}">
                    <a16:creationId xmlns:a16="http://schemas.microsoft.com/office/drawing/2014/main" id="{4CCC0796-D7FE-4730-85D3-380F795EC6C3}"/>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grpSp>
        <p:nvGrpSpPr>
          <p:cNvPr id="82" name="Gruppieren 81">
            <a:extLst>
              <a:ext uri="{FF2B5EF4-FFF2-40B4-BE49-F238E27FC236}">
                <a16:creationId xmlns:a16="http://schemas.microsoft.com/office/drawing/2014/main" id="{78DE8CA4-3189-4D81-A0B6-20AA7E700A17}"/>
              </a:ext>
            </a:extLst>
          </p:cNvPr>
          <p:cNvGrpSpPr/>
          <p:nvPr/>
        </p:nvGrpSpPr>
        <p:grpSpPr>
          <a:xfrm>
            <a:off x="-697714" y="80201"/>
            <a:ext cx="411956" cy="6729801"/>
            <a:chOff x="-502267" y="80201"/>
            <a:chExt cx="411956" cy="6729801"/>
          </a:xfrm>
        </p:grpSpPr>
        <p:grpSp>
          <p:nvGrpSpPr>
            <p:cNvPr id="61" name="Gruppieren 60">
              <a:extLst>
                <a:ext uri="{FF2B5EF4-FFF2-40B4-BE49-F238E27FC236}">
                  <a16:creationId xmlns:a16="http://schemas.microsoft.com/office/drawing/2014/main" id="{2B29B77A-3B1D-4CDD-BBC2-8A2957422FAA}"/>
                </a:ext>
              </a:extLst>
            </p:cNvPr>
            <p:cNvGrpSpPr/>
            <p:nvPr/>
          </p:nvGrpSpPr>
          <p:grpSpPr>
            <a:xfrm>
              <a:off x="-502267" y="6593340"/>
              <a:ext cx="411956" cy="216662"/>
              <a:chOff x="-615197" y="4452994"/>
              <a:chExt cx="411956" cy="216662"/>
            </a:xfrm>
          </p:grpSpPr>
          <p:sp>
            <p:nvSpPr>
              <p:cNvPr id="63" name="Textfeld 62">
                <a:extLst>
                  <a:ext uri="{FF2B5EF4-FFF2-40B4-BE49-F238E27FC236}">
                    <a16:creationId xmlns:a16="http://schemas.microsoft.com/office/drawing/2014/main" id="{0026B918-E1C7-4F8F-84C7-B47E4032A9A9}"/>
                  </a:ext>
                </a:extLst>
              </p:cNvPr>
              <p:cNvSpPr txBox="1"/>
              <p:nvPr/>
            </p:nvSpPr>
            <p:spPr>
              <a:xfrm>
                <a:off x="-615197" y="4452994"/>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92</a:t>
                </a:r>
              </a:p>
            </p:txBody>
          </p:sp>
          <p:cxnSp>
            <p:nvCxnSpPr>
              <p:cNvPr id="62" name="Gerader Verbinder 61">
                <a:extLst>
                  <a:ext uri="{FF2B5EF4-FFF2-40B4-BE49-F238E27FC236}">
                    <a16:creationId xmlns:a16="http://schemas.microsoft.com/office/drawing/2014/main" id="{93D91228-E8A5-4F30-A7EC-EBF48343A3E6}"/>
                  </a:ext>
                </a:extLst>
              </p:cNvPr>
              <p:cNvCxnSpPr>
                <a:cxnSpLocks/>
              </p:cNvCxnSpPr>
              <p:nvPr/>
            </p:nvCxnSpPr>
            <p:spPr>
              <a:xfrm>
                <a:off x="-615197" y="4497389"/>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7" name="Gruppieren 66">
              <a:extLst>
                <a:ext uri="{FF2B5EF4-FFF2-40B4-BE49-F238E27FC236}">
                  <a16:creationId xmlns:a16="http://schemas.microsoft.com/office/drawing/2014/main" id="{F81C8663-719C-4C4D-B021-2AAC833DE83A}"/>
                </a:ext>
              </a:extLst>
            </p:cNvPr>
            <p:cNvGrpSpPr/>
            <p:nvPr/>
          </p:nvGrpSpPr>
          <p:grpSpPr>
            <a:xfrm>
              <a:off x="-502267" y="5876163"/>
              <a:ext cx="411956" cy="216662"/>
              <a:chOff x="-615197" y="4295013"/>
              <a:chExt cx="411956" cy="216662"/>
            </a:xfrm>
          </p:grpSpPr>
          <p:cxnSp>
            <p:nvCxnSpPr>
              <p:cNvPr id="68" name="Gerader Verbinder 67">
                <a:extLst>
                  <a:ext uri="{FF2B5EF4-FFF2-40B4-BE49-F238E27FC236}">
                    <a16:creationId xmlns:a16="http://schemas.microsoft.com/office/drawing/2014/main" id="{CCC1DBBB-3ACE-470E-AE16-5F772149FBAD}"/>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feld 68">
                <a:extLst>
                  <a:ext uri="{FF2B5EF4-FFF2-40B4-BE49-F238E27FC236}">
                    <a16:creationId xmlns:a16="http://schemas.microsoft.com/office/drawing/2014/main" id="{F03CE7B8-9284-495A-A6CE-07BB9E1426C1}"/>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7,40</a:t>
                </a:r>
              </a:p>
            </p:txBody>
          </p:sp>
        </p:grpSp>
        <p:grpSp>
          <p:nvGrpSpPr>
            <p:cNvPr id="70" name="Gruppieren 69">
              <a:extLst>
                <a:ext uri="{FF2B5EF4-FFF2-40B4-BE49-F238E27FC236}">
                  <a16:creationId xmlns:a16="http://schemas.microsoft.com/office/drawing/2014/main" id="{327D6F70-70F8-4901-BE2E-1DDBE99384F5}"/>
                </a:ext>
              </a:extLst>
            </p:cNvPr>
            <p:cNvGrpSpPr/>
            <p:nvPr/>
          </p:nvGrpSpPr>
          <p:grpSpPr>
            <a:xfrm>
              <a:off x="-502267" y="3212338"/>
              <a:ext cx="411956" cy="216662"/>
              <a:chOff x="-615197" y="4295013"/>
              <a:chExt cx="411956" cy="216662"/>
            </a:xfrm>
          </p:grpSpPr>
          <p:cxnSp>
            <p:nvCxnSpPr>
              <p:cNvPr id="71" name="Gerader Verbinder 70">
                <a:extLst>
                  <a:ext uri="{FF2B5EF4-FFF2-40B4-BE49-F238E27FC236}">
                    <a16:creationId xmlns:a16="http://schemas.microsoft.com/office/drawing/2014/main" id="{15679958-F11D-4EBF-B132-E68802D95D31}"/>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2" name="Textfeld 71">
                <a:extLst>
                  <a:ext uri="{FF2B5EF4-FFF2-40B4-BE49-F238E27FC236}">
                    <a16:creationId xmlns:a16="http://schemas.microsoft.com/office/drawing/2014/main" id="{A3A699CD-C727-47D3-875C-A63BD470971B}"/>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00</a:t>
                </a:r>
              </a:p>
            </p:txBody>
          </p:sp>
        </p:grpSp>
        <p:grpSp>
          <p:nvGrpSpPr>
            <p:cNvPr id="73" name="Gruppieren 72">
              <a:extLst>
                <a:ext uri="{FF2B5EF4-FFF2-40B4-BE49-F238E27FC236}">
                  <a16:creationId xmlns:a16="http://schemas.microsoft.com/office/drawing/2014/main" id="{5DA602B9-E93E-4B2C-A368-2968A507AF2F}"/>
                </a:ext>
              </a:extLst>
            </p:cNvPr>
            <p:cNvGrpSpPr/>
            <p:nvPr/>
          </p:nvGrpSpPr>
          <p:grpSpPr>
            <a:xfrm>
              <a:off x="-502267" y="835851"/>
              <a:ext cx="411956" cy="216662"/>
              <a:chOff x="-615197" y="4295013"/>
              <a:chExt cx="411956" cy="216662"/>
            </a:xfrm>
          </p:grpSpPr>
          <p:cxnSp>
            <p:nvCxnSpPr>
              <p:cNvPr id="74" name="Gerader Verbinder 73">
                <a:extLst>
                  <a:ext uri="{FF2B5EF4-FFF2-40B4-BE49-F238E27FC236}">
                    <a16:creationId xmlns:a16="http://schemas.microsoft.com/office/drawing/2014/main" id="{F40922C8-F57F-415F-A03D-BBAF9D618984}"/>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5" name="Textfeld 74">
                <a:extLst>
                  <a:ext uri="{FF2B5EF4-FFF2-40B4-BE49-F238E27FC236}">
                    <a16:creationId xmlns:a16="http://schemas.microsoft.com/office/drawing/2014/main" id="{ECE34CB4-92D2-4644-B148-8E267D7B4CD5}"/>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6,60</a:t>
                </a:r>
              </a:p>
            </p:txBody>
          </p:sp>
        </p:grpSp>
        <p:grpSp>
          <p:nvGrpSpPr>
            <p:cNvPr id="76" name="Gruppieren 75">
              <a:extLst>
                <a:ext uri="{FF2B5EF4-FFF2-40B4-BE49-F238E27FC236}">
                  <a16:creationId xmlns:a16="http://schemas.microsoft.com/office/drawing/2014/main" id="{8CE2FF66-3339-4802-9FD3-2E070A63550A}"/>
                </a:ext>
              </a:extLst>
            </p:cNvPr>
            <p:cNvGrpSpPr/>
            <p:nvPr/>
          </p:nvGrpSpPr>
          <p:grpSpPr>
            <a:xfrm>
              <a:off x="-502267" y="1412113"/>
              <a:ext cx="411956" cy="216662"/>
              <a:chOff x="-615197" y="4295013"/>
              <a:chExt cx="411956" cy="216662"/>
            </a:xfrm>
          </p:grpSpPr>
          <p:cxnSp>
            <p:nvCxnSpPr>
              <p:cNvPr id="77" name="Gerader Verbinder 76">
                <a:extLst>
                  <a:ext uri="{FF2B5EF4-FFF2-40B4-BE49-F238E27FC236}">
                    <a16:creationId xmlns:a16="http://schemas.microsoft.com/office/drawing/2014/main" id="{1E35B613-A28D-45F8-BEEB-2D04A8076303}"/>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D8B60E64-0906-4601-91AB-C915F408DAD6}"/>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5,00</a:t>
                </a:r>
              </a:p>
            </p:txBody>
          </p:sp>
        </p:grpSp>
        <p:grpSp>
          <p:nvGrpSpPr>
            <p:cNvPr id="79" name="Gruppieren 78">
              <a:extLst>
                <a:ext uri="{FF2B5EF4-FFF2-40B4-BE49-F238E27FC236}">
                  <a16:creationId xmlns:a16="http://schemas.microsoft.com/office/drawing/2014/main" id="{9D613ABC-2FE3-441A-A574-01A6E064D1E3}"/>
                </a:ext>
              </a:extLst>
            </p:cNvPr>
            <p:cNvGrpSpPr/>
            <p:nvPr/>
          </p:nvGrpSpPr>
          <p:grpSpPr>
            <a:xfrm>
              <a:off x="-502267" y="80201"/>
              <a:ext cx="411956" cy="216662"/>
              <a:chOff x="-615197" y="4258501"/>
              <a:chExt cx="411956" cy="216662"/>
            </a:xfrm>
          </p:grpSpPr>
          <p:cxnSp>
            <p:nvCxnSpPr>
              <p:cNvPr id="80" name="Gerader Verbinder 79">
                <a:extLst>
                  <a:ext uri="{FF2B5EF4-FFF2-40B4-BE49-F238E27FC236}">
                    <a16:creationId xmlns:a16="http://schemas.microsoft.com/office/drawing/2014/main" id="{83CEB50C-046E-498F-A8AA-AC59FC296BA5}"/>
                  </a:ext>
                </a:extLst>
              </p:cNvPr>
              <p:cNvCxnSpPr>
                <a:cxnSpLocks/>
              </p:cNvCxnSpPr>
              <p:nvPr/>
            </p:nvCxnSpPr>
            <p:spPr>
              <a:xfrm>
                <a:off x="-615197" y="4475163"/>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Textfeld 80">
                <a:extLst>
                  <a:ext uri="{FF2B5EF4-FFF2-40B4-BE49-F238E27FC236}">
                    <a16:creationId xmlns:a16="http://schemas.microsoft.com/office/drawing/2014/main" id="{139A9333-EFCD-45EF-92FE-AA1702343713}"/>
                  </a:ext>
                </a:extLst>
              </p:cNvPr>
              <p:cNvSpPr txBox="1"/>
              <p:nvPr/>
            </p:nvSpPr>
            <p:spPr>
              <a:xfrm>
                <a:off x="-615197" y="4258501"/>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70</a:t>
                </a:r>
              </a:p>
            </p:txBody>
          </p:sp>
        </p:grpSp>
      </p:grpSp>
      <p:cxnSp>
        <p:nvCxnSpPr>
          <p:cNvPr id="55" name="Gerade Verbindung 68">
            <a:extLst>
              <a:ext uri="{FF2B5EF4-FFF2-40B4-BE49-F238E27FC236}">
                <a16:creationId xmlns:a16="http://schemas.microsoft.com/office/drawing/2014/main" id="{FE38C3DB-4A17-4F65-BB51-220FF4168A2B}"/>
              </a:ext>
            </a:extLst>
          </p:cNvPr>
          <p:cNvCxnSpPr>
            <a:cxnSpLocks/>
          </p:cNvCxnSpPr>
          <p:nvPr userDrawn="1"/>
        </p:nvCxnSpPr>
        <p:spPr>
          <a:xfrm>
            <a:off x="0" y="6517553"/>
            <a:ext cx="12192000" cy="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9" name="Grafik 8">
            <a:extLst>
              <a:ext uri="{FF2B5EF4-FFF2-40B4-BE49-F238E27FC236}">
                <a16:creationId xmlns:a16="http://schemas.microsoft.com/office/drawing/2014/main" id="{26474EC8-5C7D-4170-27AC-CE76A6950110}"/>
              </a:ext>
            </a:extLst>
          </p:cNvPr>
          <p:cNvPicPr>
            <a:picLocks noChangeAspect="1"/>
          </p:cNvPicPr>
          <p:nvPr userDrawn="1"/>
        </p:nvPicPr>
        <p:blipFill>
          <a:blip r:embed="rId26">
            <a:extLst>
              <a:ext uri="{28A0092B-C50C-407E-A947-70E740481C1C}">
                <a14:useLocalDpi xmlns:a14="http://schemas.microsoft.com/office/drawing/2010/main" val="0"/>
              </a:ext>
            </a:extLst>
          </a:blip>
          <a:srcRect l="11980" t="27160" r="12453" b="26378"/>
          <a:stretch/>
        </p:blipFill>
        <p:spPr>
          <a:xfrm>
            <a:off x="9262569" y="261978"/>
            <a:ext cx="2681864" cy="661126"/>
          </a:xfrm>
          <a:prstGeom prst="rect">
            <a:avLst/>
          </a:prstGeom>
        </p:spPr>
      </p:pic>
    </p:spTree>
    <p:extLst>
      <p:ext uri="{BB962C8B-B14F-4D97-AF65-F5344CB8AC3E}">
        <p14:creationId xmlns:p14="http://schemas.microsoft.com/office/powerpoint/2010/main" val="2846167297"/>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703" r:id="rId4"/>
    <p:sldLayoutId id="2147483706" r:id="rId5"/>
    <p:sldLayoutId id="2147483702" r:id="rId6"/>
    <p:sldLayoutId id="2147483685"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7" r:id="rId23"/>
    <p:sldLayoutId id="2147483722" r:id="rId24"/>
  </p:sldLayoutIdLst>
  <p:hf hdr="0"/>
  <p:txStyles>
    <p:titleStyle>
      <a:lvl1pPr algn="l" defTabSz="914400" rtl="0" eaLnBrk="1" latinLnBrk="0" hangingPunct="1">
        <a:lnSpc>
          <a:spcPct val="100000"/>
        </a:lnSpc>
        <a:spcBef>
          <a:spcPct val="0"/>
        </a:spcBef>
        <a:buNone/>
        <a:defRPr sz="2400" b="1" kern="1200">
          <a:solidFill>
            <a:schemeClr val="tx1"/>
          </a:solidFill>
          <a:latin typeface="ZEISS Frutiger Next W1G"/>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ZEISS Frutiger Next W1G"/>
          <a:ea typeface="+mn-ea"/>
          <a:cs typeface="Arial" panose="020B0604020202020204" pitchFamily="34" charset="0"/>
        </a:defRPr>
      </a:lvl1pPr>
      <a:lvl2pPr marL="180000" indent="-180000" algn="l" defTabSz="914400" rtl="0" eaLnBrk="1" latinLnBrk="0" hangingPunct="1">
        <a:lnSpc>
          <a:spcPct val="100000"/>
        </a:lnSpc>
        <a:spcBef>
          <a:spcPts val="0"/>
        </a:spcBef>
        <a:spcAft>
          <a:spcPts val="800"/>
        </a:spcAft>
        <a:buFont typeface="Wingdings" panose="05000000000000000000" pitchFamily="2" charset="2"/>
        <a:buChar char="§"/>
        <a:defRPr sz="1600" kern="1200">
          <a:solidFill>
            <a:schemeClr val="tx1"/>
          </a:solidFill>
          <a:latin typeface="ZEISS Frutiger Next W1G"/>
          <a:ea typeface="+mn-ea"/>
          <a:cs typeface="Arial" panose="020B0604020202020204" pitchFamily="34" charset="0"/>
        </a:defRPr>
      </a:lvl2pPr>
      <a:lvl3pPr marL="360000" indent="-180000" algn="l" defTabSz="914400" rtl="0" eaLnBrk="1" latinLnBrk="0" hangingPunct="1">
        <a:lnSpc>
          <a:spcPct val="100000"/>
        </a:lnSpc>
        <a:spcBef>
          <a:spcPts val="0"/>
        </a:spcBef>
        <a:spcAft>
          <a:spcPts val="800"/>
        </a:spcAft>
        <a:buFont typeface="Symbol" panose="05050102010706020507" pitchFamily="18" charset="2"/>
        <a:buChar char="-"/>
        <a:defRPr sz="1400" kern="1200">
          <a:solidFill>
            <a:schemeClr val="tx1"/>
          </a:solidFill>
          <a:latin typeface="ZEISS Frutiger Next W1G"/>
          <a:ea typeface="+mn-ea"/>
          <a:cs typeface="Arial" panose="020B0604020202020204" pitchFamily="34" charset="0"/>
        </a:defRPr>
      </a:lvl3pPr>
      <a:lvl4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4pPr>
      <a:lvl5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5pPr>
      <a:lvl6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6pPr>
      <a:lvl7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7pPr>
      <a:lvl8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8pPr>
      <a:lvl9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3" orient="horz" pos="2160" userDrawn="1">
          <p15:clr>
            <a:srgbClr val="A4A3A4"/>
          </p15:clr>
        </p15:guide>
        <p15:guide id="14" pos="3840" userDrawn="1">
          <p15:clr>
            <a:srgbClr val="A4A3A4"/>
          </p15:clr>
        </p15:guide>
        <p15:guide id="15" pos="325" userDrawn="1">
          <p15:clr>
            <a:srgbClr val="A4A3A4"/>
          </p15:clr>
        </p15:guide>
        <p15:guide id="16" pos="7355" userDrawn="1">
          <p15:clr>
            <a:srgbClr val="A4A3A4"/>
          </p15:clr>
        </p15:guide>
        <p15:guide id="17" pos="3931" userDrawn="1">
          <p15:clr>
            <a:srgbClr val="A4A3A4"/>
          </p15:clr>
        </p15:guide>
        <p15:guide id="18" pos="3749" userDrawn="1">
          <p15:clr>
            <a:srgbClr val="A4A3A4"/>
          </p15:clr>
        </p15:guide>
        <p15:guide id="19" orient="horz" pos="187" userDrawn="1">
          <p15:clr>
            <a:srgbClr val="A4A3A4"/>
          </p15:clr>
        </p15:guide>
        <p15:guide id="20" orient="horz" pos="663" userDrawn="1">
          <p15:clr>
            <a:srgbClr val="A4A3A4"/>
          </p15:clr>
        </p15:guide>
        <p15:guide id="21" orient="horz" pos="1026" userDrawn="1">
          <p15:clr>
            <a:srgbClr val="A4A3A4"/>
          </p15:clr>
        </p15:guide>
        <p15:guide id="23" orient="horz" pos="4182" userDrawn="1">
          <p15:clr>
            <a:srgbClr val="A4A3A4"/>
          </p15:clr>
        </p15:guide>
        <p15:guide id="24" orient="horz" pos="3838"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05371EF-857A-4846-8F90-CC9DD08CCCC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BAA5DDC2-D685-456A-A75C-32CAAD3C021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B42F241-652F-4096-89E6-B91CFAFA4B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854B89-BCE5-47A7-9308-67D3AB072B0F}" type="datetime4">
              <a:rPr lang="de-DE" smtClean="0"/>
              <a:t>17. Februar 2025</a:t>
            </a:fld>
            <a:endParaRPr lang="de-DE"/>
          </a:p>
        </p:txBody>
      </p:sp>
      <p:sp>
        <p:nvSpPr>
          <p:cNvPr id="5" name="Fußzeilenplatzhalter 4">
            <a:extLst>
              <a:ext uri="{FF2B5EF4-FFF2-40B4-BE49-F238E27FC236}">
                <a16:creationId xmlns:a16="http://schemas.microsoft.com/office/drawing/2014/main" id="{F89863C5-5DA2-4975-88BD-874040C9F1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68EA62F3-5D21-4685-A24A-15DDB9E6B3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851B7C-8F40-4CA7-88A3-3ED2BD8838B0}" type="slidenum">
              <a:rPr lang="de-DE" smtClean="0"/>
              <a:t>‹Nr.›</a:t>
            </a:fld>
            <a:endParaRPr lang="de-DE"/>
          </a:p>
        </p:txBody>
      </p:sp>
    </p:spTree>
    <p:extLst>
      <p:ext uri="{BB962C8B-B14F-4D97-AF65-F5344CB8AC3E}">
        <p14:creationId xmlns:p14="http://schemas.microsoft.com/office/powerpoint/2010/main" val="53505483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microsoft.com/office/2017/06/relationships/model3d" Target="../media/model3d3.glb"/><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microsoft.com/office/2017/06/relationships/model3d" Target="../media/model3d3.glb"/><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microsoft.com/office/2017/06/relationships/model3d" Target="../media/model3d4.glb"/><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microsoft.com/office/2017/06/relationships/model3d" Target="../media/model3d5.glb"/><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_rels/slide1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3.xml"/><Relationship Id="rId1" Type="http://schemas.openxmlformats.org/officeDocument/2006/relationships/slideLayout" Target="../slideLayouts/slideLayout24.xml"/><Relationship Id="rId4" Type="http://schemas.openxmlformats.org/officeDocument/2006/relationships/hyperlink" Target="https://www.thorlabs.com/newgrouppage9.cfm?objectgroup_id=9013"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33.png"/><Relationship Id="rId17" Type="http://schemas.openxmlformats.org/officeDocument/2006/relationships/image" Target="../media/image38.svg"/><Relationship Id="rId2" Type="http://schemas.openxmlformats.org/officeDocument/2006/relationships/notesSlide" Target="../notesSlides/notesSlide4.xml"/><Relationship Id="rId16" Type="http://schemas.openxmlformats.org/officeDocument/2006/relationships/image" Target="../media/image37.png"/><Relationship Id="rId1" Type="http://schemas.openxmlformats.org/officeDocument/2006/relationships/slideLayout" Target="../slideLayouts/slideLayout24.xml"/><Relationship Id="rId6" Type="http://schemas.openxmlformats.org/officeDocument/2006/relationships/diagramColors" Target="../diagrams/colors1.xml"/><Relationship Id="rId11" Type="http://schemas.openxmlformats.org/officeDocument/2006/relationships/image" Target="../media/image32.svg"/><Relationship Id="rId5" Type="http://schemas.openxmlformats.org/officeDocument/2006/relationships/diagramQuickStyle" Target="../diagrams/quickStyle1.xml"/><Relationship Id="rId15" Type="http://schemas.openxmlformats.org/officeDocument/2006/relationships/image" Target="../media/image36.svg"/><Relationship Id="rId10" Type="http://schemas.openxmlformats.org/officeDocument/2006/relationships/image" Target="../media/image31.png"/><Relationship Id="rId4" Type="http://schemas.openxmlformats.org/officeDocument/2006/relationships/diagramLayout" Target="../diagrams/layout1.xml"/><Relationship Id="rId9" Type="http://schemas.openxmlformats.org/officeDocument/2006/relationships/image" Target="../media/image30.svg"/><Relationship Id="rId14" Type="http://schemas.openxmlformats.org/officeDocument/2006/relationships/image" Target="../media/image35.png"/></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slide" Target="slide21.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slide" Target="slide2.xml"/><Relationship Id="rId10" Type="http://schemas.openxmlformats.org/officeDocument/2006/relationships/tags" Target="../tags/tag11.xml"/><Relationship Id="rId19" Type="http://schemas.openxmlformats.org/officeDocument/2006/relationships/slideLayout" Target="../slideLayouts/slideLayout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slide" Target="slide2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1.png"/><Relationship Id="rId2" Type="http://schemas.microsoft.com/office/2017/06/relationships/model3d" Target="../media/model3d6.glb"/><Relationship Id="rId1" Type="http://schemas.openxmlformats.org/officeDocument/2006/relationships/slideLayout" Target="../slideLayouts/slideLayout8.xml"/><Relationship Id="rId6" Type="http://schemas.microsoft.com/office/2017/06/relationships/model3d" Target="../media/model3d8.glb"/><Relationship Id="rId5" Type="http://schemas.openxmlformats.org/officeDocument/2006/relationships/image" Target="../media/image40.png"/><Relationship Id="rId4" Type="http://schemas.microsoft.com/office/2017/06/relationships/model3d" Target="../media/model3d7.glb"/></Relationships>
</file>

<file path=ppt/slides/_rels/slide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microsoft.com/office/2017/06/relationships/model3d" Target="../media/model3d1.glb"/><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microsoft.com/office/2017/06/relationships/model3d" Target="../media/model3d1.glb"/><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microsoft.com/office/2017/06/relationships/model3d" Target="../media/model3d1.glb"/><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microsoft.com/office/2017/06/relationships/model3d" Target="../media/model3d2.glb"/><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microsoft.com/office/2017/06/relationships/model3d" Target="../media/model3d2.glb"/><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umsplatzhalter 5">
            <a:extLst>
              <a:ext uri="{FF2B5EF4-FFF2-40B4-BE49-F238E27FC236}">
                <a16:creationId xmlns:a16="http://schemas.microsoft.com/office/drawing/2014/main" id="{0837F090-DEF9-FC2C-0D6C-29947B657BEC}"/>
              </a:ext>
            </a:extLst>
          </p:cNvPr>
          <p:cNvSpPr>
            <a:spLocks noGrp="1"/>
          </p:cNvSpPr>
          <p:nvPr>
            <p:ph type="dt" sz="half" idx="16"/>
          </p:nvPr>
        </p:nvSpPr>
        <p:spPr>
          <a:xfrm>
            <a:off x="518319" y="5750164"/>
            <a:ext cx="2062872" cy="184666"/>
          </a:xfrm>
        </p:spPr>
        <p:txBody>
          <a:bodyPr/>
          <a:lstStyle/>
          <a:p>
            <a:pPr>
              <a:spcAft>
                <a:spcPts val="800"/>
              </a:spcAft>
              <a:buFont typeface="Arial" panose="020B0604020202020204" pitchFamily="34" charset="0"/>
              <a:buNone/>
            </a:pPr>
            <a:r>
              <a:rPr lang="en-US"/>
              <a:t>Wednesday, November 27, 2024</a:t>
            </a:r>
            <a:endParaRPr lang="de-DE"/>
          </a:p>
        </p:txBody>
      </p:sp>
      <p:sp>
        <p:nvSpPr>
          <p:cNvPr id="7" name="Titel 1">
            <a:extLst>
              <a:ext uri="{FF2B5EF4-FFF2-40B4-BE49-F238E27FC236}">
                <a16:creationId xmlns:a16="http://schemas.microsoft.com/office/drawing/2014/main" id="{49CB9965-CC55-9B67-0DC6-3DBDE790AB5E}"/>
              </a:ext>
            </a:extLst>
          </p:cNvPr>
          <p:cNvSpPr>
            <a:spLocks noGrp="1"/>
          </p:cNvSpPr>
          <p:nvPr>
            <p:ph type="title"/>
          </p:nvPr>
        </p:nvSpPr>
        <p:spPr>
          <a:xfrm>
            <a:off x="518319" y="2475900"/>
            <a:ext cx="11157744" cy="923330"/>
          </a:xfrm>
        </p:spPr>
        <p:txBody>
          <a:bodyPr/>
          <a:lstStyle/>
          <a:p>
            <a:pPr algn="ctr"/>
            <a:r>
              <a:rPr lang="en-US" sz="6000" dirty="0"/>
              <a:t>GMALL: Stewart Platform</a:t>
            </a:r>
          </a:p>
        </p:txBody>
      </p:sp>
      <p:sp>
        <p:nvSpPr>
          <p:cNvPr id="8" name="Textplatzhalter 2">
            <a:extLst>
              <a:ext uri="{FF2B5EF4-FFF2-40B4-BE49-F238E27FC236}">
                <a16:creationId xmlns:a16="http://schemas.microsoft.com/office/drawing/2014/main" id="{3E447D12-B3BC-2D6C-1864-FA030F4343F2}"/>
              </a:ext>
            </a:extLst>
          </p:cNvPr>
          <p:cNvSpPr>
            <a:spLocks noGrp="1"/>
          </p:cNvSpPr>
          <p:nvPr>
            <p:ph type="body" sz="quarter" idx="20"/>
          </p:nvPr>
        </p:nvSpPr>
        <p:spPr>
          <a:xfrm>
            <a:off x="544554" y="4467426"/>
            <a:ext cx="11157744" cy="738664"/>
          </a:xfrm>
        </p:spPr>
        <p:txBody>
          <a:bodyPr/>
          <a:lstStyle/>
          <a:p>
            <a:r>
              <a:rPr lang="en-US" sz="2500" dirty="0">
                <a:cs typeface="Arial"/>
              </a:rPr>
              <a:t>MTE 380: Game Day Presentation</a:t>
            </a:r>
          </a:p>
        </p:txBody>
      </p:sp>
      <p:sp>
        <p:nvSpPr>
          <p:cNvPr id="9" name="Textplatzhalter 3">
            <a:extLst>
              <a:ext uri="{FF2B5EF4-FFF2-40B4-BE49-F238E27FC236}">
                <a16:creationId xmlns:a16="http://schemas.microsoft.com/office/drawing/2014/main" id="{D50D9609-BBD9-4FEE-3B92-0A63B6380EDC}"/>
              </a:ext>
            </a:extLst>
          </p:cNvPr>
          <p:cNvSpPr>
            <a:spLocks noGrp="1"/>
          </p:cNvSpPr>
          <p:nvPr>
            <p:ph type="body" sz="quarter" idx="13"/>
          </p:nvPr>
        </p:nvSpPr>
        <p:spPr>
          <a:xfrm>
            <a:off x="518317" y="4963183"/>
            <a:ext cx="4319999" cy="184666"/>
          </a:xfrm>
        </p:spPr>
        <p:txBody>
          <a:bodyPr/>
          <a:lstStyle/>
          <a:p>
            <a:r>
              <a:rPr lang="de-DE" dirty="0">
                <a:cs typeface="Arial"/>
              </a:rPr>
              <a:t>Gavin Grimm, Marvin Bullinger</a:t>
            </a:r>
          </a:p>
        </p:txBody>
      </p:sp>
      <p:sp>
        <p:nvSpPr>
          <p:cNvPr id="10" name="Textplatzhalter 4">
            <a:extLst>
              <a:ext uri="{FF2B5EF4-FFF2-40B4-BE49-F238E27FC236}">
                <a16:creationId xmlns:a16="http://schemas.microsoft.com/office/drawing/2014/main" id="{1C39EF68-D449-C837-ADC6-A5946FC6FA8D}"/>
              </a:ext>
            </a:extLst>
          </p:cNvPr>
          <p:cNvSpPr txBox="1">
            <a:spLocks/>
          </p:cNvSpPr>
          <p:nvPr/>
        </p:nvSpPr>
        <p:spPr>
          <a:xfrm>
            <a:off x="518317" y="5383406"/>
            <a:ext cx="4319999" cy="184666"/>
          </a:xfrm>
          <a:prstGeom prst="rect">
            <a:avLst/>
          </a:prstGeom>
        </p:spPr>
        <p:txBody>
          <a:bodyPr vert="horz" lIns="0" tIns="0" rIns="0" bIns="0" rtlCol="0" anchor="t" anchorCtr="0">
            <a:spAutoFit/>
          </a:bodyPr>
          <a:lstStyle>
            <a:lvl1pPr marL="0" indent="0" algn="l" defTabSz="914400" rtl="0" eaLnBrk="1" latinLnBrk="0" hangingPunct="1">
              <a:lnSpc>
                <a:spcPct val="100000"/>
              </a:lnSpc>
              <a:spcBef>
                <a:spcPts val="0"/>
              </a:spcBef>
              <a:spcAft>
                <a:spcPts val="800"/>
              </a:spcAft>
              <a:buFont typeface="Arial" panose="020B0604020202020204" pitchFamily="34" charset="0"/>
              <a:buNone/>
              <a:defRPr sz="1200" b="0" kern="1200">
                <a:solidFill>
                  <a:schemeClr val="tx1"/>
                </a:solidFill>
                <a:latin typeface="ZEISS Frutiger Next W1G"/>
                <a:ea typeface="+mn-ea"/>
                <a:cs typeface="Arial" panose="020B0604020202020204" pitchFamily="34" charset="0"/>
              </a:defRPr>
            </a:lvl1pPr>
            <a:lvl2pPr marL="180000" indent="-180000" algn="l" defTabSz="914400" rtl="0" eaLnBrk="1" latinLnBrk="0" hangingPunct="1">
              <a:lnSpc>
                <a:spcPct val="100000"/>
              </a:lnSpc>
              <a:spcBef>
                <a:spcPts val="0"/>
              </a:spcBef>
              <a:spcAft>
                <a:spcPts val="800"/>
              </a:spcAft>
              <a:buFont typeface="Wingdings" panose="05000000000000000000" pitchFamily="2" charset="2"/>
              <a:buChar char="§"/>
              <a:defRPr sz="1600" kern="1200">
                <a:solidFill>
                  <a:schemeClr val="tx1"/>
                </a:solidFill>
                <a:latin typeface="ZEISS Frutiger Next W1G"/>
                <a:ea typeface="+mn-ea"/>
                <a:cs typeface="Arial" panose="020B0604020202020204" pitchFamily="34" charset="0"/>
              </a:defRPr>
            </a:lvl2pPr>
            <a:lvl3pPr marL="360000" indent="-180000" algn="l" defTabSz="914400" rtl="0" eaLnBrk="1" latinLnBrk="0" hangingPunct="1">
              <a:lnSpc>
                <a:spcPct val="100000"/>
              </a:lnSpc>
              <a:spcBef>
                <a:spcPts val="0"/>
              </a:spcBef>
              <a:spcAft>
                <a:spcPts val="800"/>
              </a:spcAft>
              <a:buFont typeface="Symbol" panose="05050102010706020507" pitchFamily="18" charset="2"/>
              <a:buChar char="-"/>
              <a:defRPr sz="1400" kern="1200">
                <a:solidFill>
                  <a:schemeClr val="tx1"/>
                </a:solidFill>
                <a:latin typeface="ZEISS Frutiger Next W1G"/>
                <a:ea typeface="+mn-ea"/>
                <a:cs typeface="Arial" panose="020B0604020202020204" pitchFamily="34" charset="0"/>
              </a:defRPr>
            </a:lvl3pPr>
            <a:lvl4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4pPr>
            <a:lvl5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5pPr>
            <a:lvl6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6pPr>
            <a:lvl7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7pPr>
            <a:lvl8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8pPr>
            <a:lvl9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9pPr>
          </a:lstStyle>
          <a:p>
            <a:r>
              <a:rPr lang="en-CA">
                <a:cs typeface="Arial"/>
              </a:rPr>
              <a:t>Learn</a:t>
            </a:r>
            <a:r>
              <a:rPr lang="de-DE">
                <a:cs typeface="Arial"/>
              </a:rPr>
              <a:t> Group 2</a:t>
            </a:r>
          </a:p>
        </p:txBody>
      </p:sp>
    </p:spTree>
    <p:extLst>
      <p:ext uri="{BB962C8B-B14F-4D97-AF65-F5344CB8AC3E}">
        <p14:creationId xmlns:p14="http://schemas.microsoft.com/office/powerpoint/2010/main" val="24595067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09B742C-F3DA-190D-9161-745E6CCCEF1B}"/>
              </a:ext>
            </a:extLst>
          </p:cNvPr>
          <p:cNvSpPr>
            <a:spLocks noGrp="1"/>
          </p:cNvSpPr>
          <p:nvPr>
            <p:ph type="sldNum" sz="quarter" idx="66"/>
          </p:nvPr>
        </p:nvSpPr>
        <p:spPr/>
        <p:txBody>
          <a:bodyPr/>
          <a:lstStyle/>
          <a:p>
            <a:fld id="{C6A4AD45-2621-4550-9DC5-4911F1B5FA4D}" type="slidenum">
              <a:rPr lang="de-DE" smtClean="0"/>
              <a:pPr/>
              <a:t>10</a:t>
            </a:fld>
            <a:endParaRPr lang="de-DE"/>
          </a:p>
        </p:txBody>
      </p:sp>
      <mc:AlternateContent xmlns:mc="http://schemas.openxmlformats.org/markup-compatibility/2006">
        <mc:Choice xmlns:am3d="http://schemas.microsoft.com/office/drawing/2017/model3d" Requires="am3d">
          <p:graphicFrame>
            <p:nvGraphicFramePr>
              <p:cNvPr id="4" name="3D-Modell 3">
                <a:extLst>
                  <a:ext uri="{FF2B5EF4-FFF2-40B4-BE49-F238E27FC236}">
                    <a16:creationId xmlns:a16="http://schemas.microsoft.com/office/drawing/2014/main" id="{84805EDF-F562-2014-8BA6-A1BB04D754A8}"/>
                  </a:ext>
                </a:extLst>
              </p:cNvPr>
              <p:cNvGraphicFramePr>
                <a:graphicFrameLocks noChangeAspect="1"/>
              </p:cNvGraphicFramePr>
              <p:nvPr>
                <p:extLst>
                  <p:ext uri="{D42A27DB-BD31-4B8C-83A1-F6EECF244321}">
                    <p14:modId xmlns:p14="http://schemas.microsoft.com/office/powerpoint/2010/main" val="3172279532"/>
                  </p:ext>
                </p:extLst>
              </p:nvPr>
            </p:nvGraphicFramePr>
            <p:xfrm>
              <a:off x="2305964" y="2462133"/>
              <a:ext cx="7422336" cy="2502693"/>
            </p:xfrm>
            <a:graphic>
              <a:graphicData uri="http://schemas.microsoft.com/office/drawing/2017/model3d">
                <am3d:model3d r:embed="rId2">
                  <am3d:spPr>
                    <a:xfrm>
                      <a:off x="0" y="0"/>
                      <a:ext cx="7422336" cy="2502693"/>
                    </a:xfrm>
                    <a:prstGeom prst="rect">
                      <a:avLst/>
                    </a:prstGeom>
                  </am3d:spPr>
                  <am3d:camera>
                    <am3d:pos x="0" y="0" z="52288746"/>
                    <am3d:up dx="0" dy="36000000" dz="0"/>
                    <am3d:lookAt x="0" y="0" z="0"/>
                    <am3d:perspective fov="2700000"/>
                  </am3d:camera>
                  <am3d:trans>
                    <am3d:meterPerModelUnit n="20000" d="1000000"/>
                    <am3d:preTrans dx="13515136" dy="24557301" dz="41510021"/>
                    <am3d:scale>
                      <am3d:sx n="1000000" d="1000000"/>
                      <am3d:sy n="1000000" d="1000000"/>
                      <am3d:sz n="1000000" d="1000000"/>
                    </am3d:scale>
                    <am3d:rot ay="5400000"/>
                    <am3d:postTrans dx="0" dy="0" dz="0"/>
                  </am3d:trans>
                  <am3d:raster rName="Office3DRenderer" rVer="16.0.8326">
                    <am3d:blip r:embed="rId3"/>
                  </am3d:raster>
                  <am3d:objViewport viewportSz="8092937"/>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 name="3D-Modell 3">
                <a:extLst>
                  <a:ext uri="{FF2B5EF4-FFF2-40B4-BE49-F238E27FC236}">
                    <a16:creationId xmlns:a16="http://schemas.microsoft.com/office/drawing/2014/main" id="{84805EDF-F562-2014-8BA6-A1BB04D754A8}"/>
                  </a:ext>
                </a:extLst>
              </p:cNvPr>
              <p:cNvPicPr>
                <a:picLocks noGrp="1" noRot="1" noChangeAspect="1" noMove="1" noResize="1" noEditPoints="1" noAdjustHandles="1" noChangeArrowheads="1" noChangeShapeType="1" noCrop="1"/>
              </p:cNvPicPr>
              <p:nvPr/>
            </p:nvPicPr>
            <p:blipFill>
              <a:blip r:embed="rId3"/>
              <a:stretch>
                <a:fillRect/>
              </a:stretch>
            </p:blipFill>
            <p:spPr>
              <a:xfrm>
                <a:off x="2305964" y="2462133"/>
                <a:ext cx="7422336" cy="2502693"/>
              </a:xfrm>
              <a:prstGeom prst="rect">
                <a:avLst/>
              </a:prstGeom>
            </p:spPr>
          </p:pic>
        </mc:Fallback>
      </mc:AlternateContent>
      <p:sp>
        <p:nvSpPr>
          <p:cNvPr id="2" name="Title 1">
            <a:extLst>
              <a:ext uri="{FF2B5EF4-FFF2-40B4-BE49-F238E27FC236}">
                <a16:creationId xmlns:a16="http://schemas.microsoft.com/office/drawing/2014/main" id="{3A1A355A-8D29-F090-CB8D-4BD67483D620}"/>
              </a:ext>
            </a:extLst>
          </p:cNvPr>
          <p:cNvSpPr>
            <a:spLocks noGrp="1"/>
          </p:cNvSpPr>
          <p:nvPr>
            <p:ph type="title"/>
          </p:nvPr>
        </p:nvSpPr>
        <p:spPr>
          <a:xfrm>
            <a:off x="518319" y="299633"/>
            <a:ext cx="9740106" cy="369332"/>
          </a:xfrm>
        </p:spPr>
        <p:txBody>
          <a:bodyPr/>
          <a:lstStyle/>
          <a:p>
            <a:r>
              <a:rPr lang="en-US" dirty="0">
                <a:cs typeface="Arial"/>
              </a:rPr>
              <a:t>Mechanical Design and Iterations</a:t>
            </a:r>
            <a:endParaRPr lang="en-US" dirty="0"/>
          </a:p>
        </p:txBody>
      </p:sp>
      <p:sp>
        <p:nvSpPr>
          <p:cNvPr id="3" name="Textplatzhalter 42">
            <a:extLst>
              <a:ext uri="{FF2B5EF4-FFF2-40B4-BE49-F238E27FC236}">
                <a16:creationId xmlns:a16="http://schemas.microsoft.com/office/drawing/2014/main" id="{049F87F9-48DD-248B-31DB-5B04E222D788}"/>
              </a:ext>
            </a:extLst>
          </p:cNvPr>
          <p:cNvSpPr>
            <a:spLocks noGrp="1"/>
          </p:cNvSpPr>
          <p:nvPr>
            <p:ph type="body" sz="quarter" idx="59"/>
          </p:nvPr>
        </p:nvSpPr>
        <p:spPr>
          <a:xfrm>
            <a:off x="518319" y="642855"/>
            <a:ext cx="9740106" cy="369332"/>
          </a:xfrm>
        </p:spPr>
        <p:txBody>
          <a:bodyPr/>
          <a:lstStyle/>
          <a:p>
            <a:r>
              <a:rPr lang="en-US" dirty="0">
                <a:cs typeface="Arial"/>
              </a:rPr>
              <a:t>Where we started – </a:t>
            </a:r>
            <a:r>
              <a:rPr lang="en-US" dirty="0" err="1">
                <a:cs typeface="Arial"/>
              </a:rPr>
              <a:t>Iterration</a:t>
            </a:r>
            <a:r>
              <a:rPr lang="en-US" dirty="0">
                <a:cs typeface="Arial"/>
              </a:rPr>
              <a:t> 2</a:t>
            </a:r>
            <a:endParaRPr lang="en-US" dirty="0"/>
          </a:p>
        </p:txBody>
      </p:sp>
    </p:spTree>
    <p:extLst>
      <p:ext uri="{BB962C8B-B14F-4D97-AF65-F5344CB8AC3E}">
        <p14:creationId xmlns:p14="http://schemas.microsoft.com/office/powerpoint/2010/main" val="13763500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09B742C-F3DA-190D-9161-745E6CCCEF1B}"/>
              </a:ext>
            </a:extLst>
          </p:cNvPr>
          <p:cNvSpPr>
            <a:spLocks noGrp="1"/>
          </p:cNvSpPr>
          <p:nvPr>
            <p:ph type="sldNum" sz="quarter" idx="66"/>
          </p:nvPr>
        </p:nvSpPr>
        <p:spPr/>
        <p:txBody>
          <a:bodyPr/>
          <a:lstStyle/>
          <a:p>
            <a:fld id="{C6A4AD45-2621-4550-9DC5-4911F1B5FA4D}" type="slidenum">
              <a:rPr lang="de-DE" smtClean="0"/>
              <a:pPr/>
              <a:t>11</a:t>
            </a:fld>
            <a:endParaRPr lang="de-DE"/>
          </a:p>
        </p:txBody>
      </p:sp>
      <mc:AlternateContent xmlns:mc="http://schemas.openxmlformats.org/markup-compatibility/2006">
        <mc:Choice xmlns:am3d="http://schemas.microsoft.com/office/drawing/2017/model3d" Requires="am3d">
          <p:graphicFrame>
            <p:nvGraphicFramePr>
              <p:cNvPr id="4" name="3D-Modell 3">
                <a:extLst>
                  <a:ext uri="{FF2B5EF4-FFF2-40B4-BE49-F238E27FC236}">
                    <a16:creationId xmlns:a16="http://schemas.microsoft.com/office/drawing/2014/main" id="{84805EDF-F562-2014-8BA6-A1BB04D754A8}"/>
                  </a:ext>
                </a:extLst>
              </p:cNvPr>
              <p:cNvGraphicFramePr>
                <a:graphicFrameLocks noChangeAspect="1"/>
              </p:cNvGraphicFramePr>
              <p:nvPr>
                <p:extLst>
                  <p:ext uri="{D42A27DB-BD31-4B8C-83A1-F6EECF244321}">
                    <p14:modId xmlns:p14="http://schemas.microsoft.com/office/powerpoint/2010/main" val="4234951762"/>
                  </p:ext>
                </p:extLst>
              </p:nvPr>
            </p:nvGraphicFramePr>
            <p:xfrm>
              <a:off x="2180127" y="2075018"/>
              <a:ext cx="7674009" cy="3276922"/>
            </p:xfrm>
            <a:graphic>
              <a:graphicData uri="http://schemas.microsoft.com/office/drawing/2017/model3d">
                <am3d:model3d r:embed="rId2">
                  <am3d:spPr>
                    <a:xfrm>
                      <a:off x="0" y="0"/>
                      <a:ext cx="7674009" cy="3276922"/>
                    </a:xfrm>
                    <a:prstGeom prst="rect">
                      <a:avLst/>
                    </a:prstGeom>
                  </am3d:spPr>
                  <am3d:camera>
                    <am3d:pos x="0" y="0" z="52288746"/>
                    <am3d:up dx="0" dy="36000000" dz="0"/>
                    <am3d:lookAt x="0" y="0" z="0"/>
                    <am3d:perspective fov="2700000"/>
                  </am3d:camera>
                  <am3d:trans>
                    <am3d:meterPerModelUnit n="20000" d="1000000"/>
                    <am3d:preTrans dx="13515136" dy="24557301" dz="41510021"/>
                    <am3d:scale>
                      <am3d:sx n="1000000" d="1000000"/>
                      <am3d:sy n="1000000" d="1000000"/>
                      <am3d:sz n="1000000" d="1000000"/>
                    </am3d:scale>
                    <am3d:rot ax="5400000" ay="18000000" az="16200000"/>
                    <am3d:postTrans dx="0" dy="0" dz="0"/>
                  </am3d:trans>
                  <am3d:raster rName="Office3DRenderer" rVer="16.0.8326">
                    <am3d:blip r:embed="rId3"/>
                  </am3d:raster>
                  <am3d:objViewport viewportSz="8092937"/>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 name="3D-Modell 3">
                <a:extLst>
                  <a:ext uri="{FF2B5EF4-FFF2-40B4-BE49-F238E27FC236}">
                    <a16:creationId xmlns:a16="http://schemas.microsoft.com/office/drawing/2014/main" id="{84805EDF-F562-2014-8BA6-A1BB04D754A8}"/>
                  </a:ext>
                </a:extLst>
              </p:cNvPr>
              <p:cNvPicPr>
                <a:picLocks noGrp="1" noRot="1" noChangeAspect="1" noMove="1" noResize="1" noEditPoints="1" noAdjustHandles="1" noChangeArrowheads="1" noChangeShapeType="1" noCrop="1"/>
              </p:cNvPicPr>
              <p:nvPr/>
            </p:nvPicPr>
            <p:blipFill>
              <a:blip r:embed="rId3"/>
              <a:stretch>
                <a:fillRect/>
              </a:stretch>
            </p:blipFill>
            <p:spPr>
              <a:xfrm>
                <a:off x="2180127" y="2075018"/>
                <a:ext cx="7674009" cy="3276922"/>
              </a:xfrm>
              <a:prstGeom prst="rect">
                <a:avLst/>
              </a:prstGeom>
            </p:spPr>
          </p:pic>
        </mc:Fallback>
      </mc:AlternateContent>
      <p:sp>
        <p:nvSpPr>
          <p:cNvPr id="2" name="Title 1">
            <a:extLst>
              <a:ext uri="{FF2B5EF4-FFF2-40B4-BE49-F238E27FC236}">
                <a16:creationId xmlns:a16="http://schemas.microsoft.com/office/drawing/2014/main" id="{CCDEF594-FD74-CF09-E9E5-A10DBDEE0B05}"/>
              </a:ext>
            </a:extLst>
          </p:cNvPr>
          <p:cNvSpPr>
            <a:spLocks noGrp="1"/>
          </p:cNvSpPr>
          <p:nvPr>
            <p:ph type="title"/>
          </p:nvPr>
        </p:nvSpPr>
        <p:spPr>
          <a:xfrm>
            <a:off x="518319" y="299633"/>
            <a:ext cx="9740106" cy="369332"/>
          </a:xfrm>
        </p:spPr>
        <p:txBody>
          <a:bodyPr/>
          <a:lstStyle/>
          <a:p>
            <a:r>
              <a:rPr lang="en-US" dirty="0">
                <a:cs typeface="Arial"/>
              </a:rPr>
              <a:t>Mechanical Design and Iterations</a:t>
            </a:r>
            <a:endParaRPr lang="en-US" dirty="0"/>
          </a:p>
        </p:txBody>
      </p:sp>
      <p:sp>
        <p:nvSpPr>
          <p:cNvPr id="5" name="Textplatzhalter 42">
            <a:extLst>
              <a:ext uri="{FF2B5EF4-FFF2-40B4-BE49-F238E27FC236}">
                <a16:creationId xmlns:a16="http://schemas.microsoft.com/office/drawing/2014/main" id="{CDD142E9-EB4E-523F-5596-611E5402FFB0}"/>
              </a:ext>
            </a:extLst>
          </p:cNvPr>
          <p:cNvSpPr>
            <a:spLocks noGrp="1"/>
          </p:cNvSpPr>
          <p:nvPr>
            <p:ph type="body" sz="quarter" idx="59"/>
          </p:nvPr>
        </p:nvSpPr>
        <p:spPr>
          <a:xfrm>
            <a:off x="518319" y="642855"/>
            <a:ext cx="9740106" cy="369332"/>
          </a:xfrm>
        </p:spPr>
        <p:txBody>
          <a:bodyPr/>
          <a:lstStyle/>
          <a:p>
            <a:r>
              <a:rPr lang="en-US" dirty="0">
                <a:cs typeface="Arial"/>
              </a:rPr>
              <a:t>Where we started – </a:t>
            </a:r>
            <a:r>
              <a:rPr lang="en-US" dirty="0" err="1">
                <a:cs typeface="Arial"/>
              </a:rPr>
              <a:t>Iterration</a:t>
            </a:r>
            <a:r>
              <a:rPr lang="en-US" dirty="0">
                <a:cs typeface="Arial"/>
              </a:rPr>
              <a:t> 2</a:t>
            </a:r>
            <a:endParaRPr lang="en-US" dirty="0"/>
          </a:p>
        </p:txBody>
      </p:sp>
    </p:spTree>
    <p:extLst>
      <p:ext uri="{BB962C8B-B14F-4D97-AF65-F5344CB8AC3E}">
        <p14:creationId xmlns:p14="http://schemas.microsoft.com/office/powerpoint/2010/main" val="24043616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09B742C-F3DA-190D-9161-745E6CCCEF1B}"/>
              </a:ext>
            </a:extLst>
          </p:cNvPr>
          <p:cNvSpPr>
            <a:spLocks noGrp="1"/>
          </p:cNvSpPr>
          <p:nvPr>
            <p:ph type="sldNum" sz="quarter" idx="66"/>
          </p:nvPr>
        </p:nvSpPr>
        <p:spPr/>
        <p:txBody>
          <a:bodyPr/>
          <a:lstStyle/>
          <a:p>
            <a:fld id="{C6A4AD45-2621-4550-9DC5-4911F1B5FA4D}" type="slidenum">
              <a:rPr lang="de-DE" smtClean="0"/>
              <a:pPr/>
              <a:t>12</a:t>
            </a:fld>
            <a:endParaRPr lang="de-DE"/>
          </a:p>
        </p:txBody>
      </p:sp>
      <mc:AlternateContent xmlns:mc="http://schemas.openxmlformats.org/markup-compatibility/2006">
        <mc:Choice xmlns:am3d="http://schemas.microsoft.com/office/drawing/2017/model3d" Requires="am3d">
          <p:graphicFrame>
            <p:nvGraphicFramePr>
              <p:cNvPr id="3" name="3D-Modell 2">
                <a:extLst>
                  <a:ext uri="{FF2B5EF4-FFF2-40B4-BE49-F238E27FC236}">
                    <a16:creationId xmlns:a16="http://schemas.microsoft.com/office/drawing/2014/main" id="{8B6F9BC8-D1A4-00A6-C38C-6C544ECBD022}"/>
                  </a:ext>
                </a:extLst>
              </p:cNvPr>
              <p:cNvGraphicFramePr>
                <a:graphicFrameLocks noChangeAspect="1"/>
              </p:cNvGraphicFramePr>
              <p:nvPr>
                <p:extLst>
                  <p:ext uri="{D42A27DB-BD31-4B8C-83A1-F6EECF244321}">
                    <p14:modId xmlns:p14="http://schemas.microsoft.com/office/powerpoint/2010/main" val="3178030477"/>
                  </p:ext>
                </p:extLst>
              </p:nvPr>
            </p:nvGraphicFramePr>
            <p:xfrm>
              <a:off x="1544861" y="2324260"/>
              <a:ext cx="8944539" cy="2915920"/>
            </p:xfrm>
            <a:graphic>
              <a:graphicData uri="http://schemas.microsoft.com/office/drawing/2017/model3d">
                <am3d:model3d r:embed="rId2">
                  <am3d:spPr>
                    <a:xfrm>
                      <a:off x="0" y="0"/>
                      <a:ext cx="8944539" cy="2915920"/>
                    </a:xfrm>
                    <a:prstGeom prst="rect">
                      <a:avLst/>
                    </a:prstGeom>
                  </am3d:spPr>
                  <am3d:camera>
                    <am3d:pos x="0" y="0" z="50191464"/>
                    <am3d:up dx="0" dy="36000000" dz="0"/>
                    <am3d:lookAt x="0" y="0" z="0"/>
                    <am3d:perspective fov="2700000"/>
                  </am3d:camera>
                  <am3d:trans>
                    <am3d:meterPerModelUnit n="20000" d="1000000"/>
                    <am3d:preTrans dx="16756042" dy="24557301" dz="41510021"/>
                    <am3d:scale>
                      <am3d:sx n="1000000" d="1000000"/>
                      <am3d:sy n="1000000" d="1000000"/>
                      <am3d:sz n="1000000" d="1000000"/>
                    </am3d:scale>
                    <am3d:rot ay="16200000"/>
                    <am3d:postTrans dx="0" dy="0" dz="0"/>
                  </am3d:trans>
                  <am3d:raster rName="Office3DRenderer" rVer="16.0.8326">
                    <am3d:blip r:embed="rId3"/>
                  </am3d:raster>
                  <am3d:objViewport viewportSz="9664209"/>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3" name="3D-Modell 2">
                <a:extLst>
                  <a:ext uri="{FF2B5EF4-FFF2-40B4-BE49-F238E27FC236}">
                    <a16:creationId xmlns:a16="http://schemas.microsoft.com/office/drawing/2014/main" id="{8B6F9BC8-D1A4-00A6-C38C-6C544ECBD022}"/>
                  </a:ext>
                </a:extLst>
              </p:cNvPr>
              <p:cNvPicPr>
                <a:picLocks noGrp="1" noRot="1" noChangeAspect="1" noMove="1" noResize="1" noEditPoints="1" noAdjustHandles="1" noChangeArrowheads="1" noChangeShapeType="1" noCrop="1"/>
              </p:cNvPicPr>
              <p:nvPr/>
            </p:nvPicPr>
            <p:blipFill>
              <a:blip r:embed="rId3"/>
              <a:stretch>
                <a:fillRect/>
              </a:stretch>
            </p:blipFill>
            <p:spPr>
              <a:xfrm>
                <a:off x="1544861" y="2324260"/>
                <a:ext cx="8944539" cy="2915920"/>
              </a:xfrm>
              <a:prstGeom prst="rect">
                <a:avLst/>
              </a:prstGeom>
            </p:spPr>
          </p:pic>
        </mc:Fallback>
      </mc:AlternateContent>
      <p:sp>
        <p:nvSpPr>
          <p:cNvPr id="2" name="Title 1">
            <a:extLst>
              <a:ext uri="{FF2B5EF4-FFF2-40B4-BE49-F238E27FC236}">
                <a16:creationId xmlns:a16="http://schemas.microsoft.com/office/drawing/2014/main" id="{E6AB86B8-2C8D-5271-C1A3-1C089E40DD59}"/>
              </a:ext>
            </a:extLst>
          </p:cNvPr>
          <p:cNvSpPr>
            <a:spLocks noGrp="1"/>
          </p:cNvSpPr>
          <p:nvPr>
            <p:ph type="title"/>
          </p:nvPr>
        </p:nvSpPr>
        <p:spPr>
          <a:xfrm>
            <a:off x="518319" y="299633"/>
            <a:ext cx="9740106" cy="369332"/>
          </a:xfrm>
        </p:spPr>
        <p:txBody>
          <a:bodyPr/>
          <a:lstStyle/>
          <a:p>
            <a:r>
              <a:rPr lang="en-US" dirty="0">
                <a:cs typeface="Arial"/>
              </a:rPr>
              <a:t>Mechanical Design and Iterations</a:t>
            </a:r>
            <a:endParaRPr lang="en-US" dirty="0"/>
          </a:p>
        </p:txBody>
      </p:sp>
      <p:sp>
        <p:nvSpPr>
          <p:cNvPr id="4" name="Textplatzhalter 42">
            <a:extLst>
              <a:ext uri="{FF2B5EF4-FFF2-40B4-BE49-F238E27FC236}">
                <a16:creationId xmlns:a16="http://schemas.microsoft.com/office/drawing/2014/main" id="{090129B4-0B20-FD6F-54D0-19C9320D5F20}"/>
              </a:ext>
            </a:extLst>
          </p:cNvPr>
          <p:cNvSpPr>
            <a:spLocks noGrp="1"/>
          </p:cNvSpPr>
          <p:nvPr>
            <p:ph type="body" sz="quarter" idx="59"/>
          </p:nvPr>
        </p:nvSpPr>
        <p:spPr>
          <a:xfrm>
            <a:off x="518319" y="642855"/>
            <a:ext cx="9740106" cy="369332"/>
          </a:xfrm>
        </p:spPr>
        <p:txBody>
          <a:bodyPr/>
          <a:lstStyle/>
          <a:p>
            <a:r>
              <a:rPr lang="en-US" dirty="0">
                <a:cs typeface="Arial"/>
              </a:rPr>
              <a:t>Where we started – </a:t>
            </a:r>
            <a:r>
              <a:rPr lang="en-US" dirty="0" err="1">
                <a:cs typeface="Arial"/>
              </a:rPr>
              <a:t>Iterration</a:t>
            </a:r>
            <a:r>
              <a:rPr lang="en-US" dirty="0">
                <a:cs typeface="Arial"/>
              </a:rPr>
              <a:t> 2</a:t>
            </a:r>
            <a:endParaRPr lang="en-US" dirty="0"/>
          </a:p>
        </p:txBody>
      </p:sp>
    </p:spTree>
    <p:extLst>
      <p:ext uri="{BB962C8B-B14F-4D97-AF65-F5344CB8AC3E}">
        <p14:creationId xmlns:p14="http://schemas.microsoft.com/office/powerpoint/2010/main" val="32338357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09B742C-F3DA-190D-9161-745E6CCCEF1B}"/>
              </a:ext>
            </a:extLst>
          </p:cNvPr>
          <p:cNvSpPr>
            <a:spLocks noGrp="1"/>
          </p:cNvSpPr>
          <p:nvPr>
            <p:ph type="sldNum" sz="quarter" idx="66"/>
          </p:nvPr>
        </p:nvSpPr>
        <p:spPr/>
        <p:txBody>
          <a:bodyPr/>
          <a:lstStyle/>
          <a:p>
            <a:fld id="{C6A4AD45-2621-4550-9DC5-4911F1B5FA4D}" type="slidenum">
              <a:rPr lang="de-DE" smtClean="0"/>
              <a:pPr/>
              <a:t>13</a:t>
            </a:fld>
            <a:endParaRPr lang="de-DE"/>
          </a:p>
        </p:txBody>
      </p:sp>
      <mc:AlternateContent xmlns:mc="http://schemas.openxmlformats.org/markup-compatibility/2006">
        <mc:Choice xmlns:am3d="http://schemas.microsoft.com/office/drawing/2017/model3d" Requires="am3d">
          <p:graphicFrame>
            <p:nvGraphicFramePr>
              <p:cNvPr id="2" name="3D-Modell 1">
                <a:extLst>
                  <a:ext uri="{FF2B5EF4-FFF2-40B4-BE49-F238E27FC236}">
                    <a16:creationId xmlns:a16="http://schemas.microsoft.com/office/drawing/2014/main" id="{8D7607A5-AFFC-737A-2E92-0E76FA52DCE1}"/>
                  </a:ext>
                </a:extLst>
              </p:cNvPr>
              <p:cNvGraphicFramePr>
                <a:graphicFrameLocks/>
              </p:cNvGraphicFramePr>
              <p:nvPr>
                <p:extLst>
                  <p:ext uri="{D42A27DB-BD31-4B8C-83A1-F6EECF244321}">
                    <p14:modId xmlns:p14="http://schemas.microsoft.com/office/powerpoint/2010/main" val="2164034114"/>
                  </p:ext>
                </p:extLst>
              </p:nvPr>
            </p:nvGraphicFramePr>
            <p:xfrm rot="16200000">
              <a:off x="4398386" y="-454308"/>
              <a:ext cx="3206182" cy="8808335"/>
            </p:xfrm>
            <a:graphic>
              <a:graphicData uri="http://schemas.microsoft.com/office/drawing/2017/model3d">
                <am3d:model3d r:embed="rId2">
                  <am3d:spPr>
                    <a:xfrm rot="16200000">
                      <a:off x="0" y="0"/>
                      <a:ext cx="3206182" cy="8808335"/>
                    </a:xfrm>
                    <a:prstGeom prst="rect">
                      <a:avLst/>
                    </a:prstGeom>
                  </am3d:spPr>
                  <am3d:camera>
                    <am3d:pos x="5457" y="-3475636" z="47662609"/>
                    <am3d:up dx="0" dy="36000000" dz="0"/>
                    <am3d:lookAt x="5457" y="-3475636" z="0"/>
                    <am3d:perspective fov="1091036"/>
                  </am3d:camera>
                  <am3d:trans>
                    <am3d:meterPerModelUnit n="7434" d="1000000"/>
                    <am3d:preTrans dx="6867656" dy="6096262" dz="3255899"/>
                    <am3d:scale>
                      <am3d:sx n="1000000" d="1000000"/>
                      <am3d:sy n="1000000" d="1000000"/>
                      <am3d:sz n="1000000" d="1000000"/>
                    </am3d:scale>
                    <am3d:rot ay="16200000"/>
                    <am3d:postTrans dx="0" dy="0" dz="0"/>
                  </am3d:trans>
                  <am3d:raster rName="Office3DRenderer" rVer="16.0.8326">
                    <am3d:blip r:embed="rId3"/>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 name="3D-Modell 1">
                <a:extLst>
                  <a:ext uri="{FF2B5EF4-FFF2-40B4-BE49-F238E27FC236}">
                    <a16:creationId xmlns:a16="http://schemas.microsoft.com/office/drawing/2014/main" id="{8D7607A5-AFFC-737A-2E92-0E76FA52DCE1}"/>
                  </a:ext>
                </a:extLst>
              </p:cNvPr>
              <p:cNvPicPr>
                <a:picLocks noGrp="1" noRot="1" noChangeAspect="1" noMove="1" noResize="1" noEditPoints="1" noAdjustHandles="1" noChangeArrowheads="1" noChangeShapeType="1" noCrop="1"/>
              </p:cNvPicPr>
              <p:nvPr/>
            </p:nvPicPr>
            <p:blipFill>
              <a:blip r:embed="rId3"/>
              <a:stretch>
                <a:fillRect/>
              </a:stretch>
            </p:blipFill>
            <p:spPr>
              <a:xfrm rot="16200000">
                <a:off x="4398386" y="-454308"/>
                <a:ext cx="3206182" cy="8808335"/>
              </a:xfrm>
              <a:prstGeom prst="rect">
                <a:avLst/>
              </a:prstGeom>
            </p:spPr>
          </p:pic>
        </mc:Fallback>
      </mc:AlternateContent>
      <p:sp>
        <p:nvSpPr>
          <p:cNvPr id="7" name="Title 1">
            <a:extLst>
              <a:ext uri="{FF2B5EF4-FFF2-40B4-BE49-F238E27FC236}">
                <a16:creationId xmlns:a16="http://schemas.microsoft.com/office/drawing/2014/main" id="{E27AFFF6-3C44-1DE6-AC11-E02DC32F42AB}"/>
              </a:ext>
            </a:extLst>
          </p:cNvPr>
          <p:cNvSpPr>
            <a:spLocks noGrp="1"/>
          </p:cNvSpPr>
          <p:nvPr>
            <p:ph type="title"/>
          </p:nvPr>
        </p:nvSpPr>
        <p:spPr>
          <a:xfrm>
            <a:off x="518319" y="299633"/>
            <a:ext cx="9740106" cy="369332"/>
          </a:xfrm>
        </p:spPr>
        <p:txBody>
          <a:bodyPr/>
          <a:lstStyle/>
          <a:p>
            <a:r>
              <a:rPr lang="en-US" dirty="0">
                <a:cs typeface="Arial"/>
              </a:rPr>
              <a:t>Mechanical Design and Iterations</a:t>
            </a:r>
            <a:endParaRPr lang="en-US" dirty="0"/>
          </a:p>
        </p:txBody>
      </p:sp>
      <p:sp>
        <p:nvSpPr>
          <p:cNvPr id="8" name="Textplatzhalter 42">
            <a:extLst>
              <a:ext uri="{FF2B5EF4-FFF2-40B4-BE49-F238E27FC236}">
                <a16:creationId xmlns:a16="http://schemas.microsoft.com/office/drawing/2014/main" id="{97F7D63F-BF62-2178-FB5D-FF3AED531D46}"/>
              </a:ext>
            </a:extLst>
          </p:cNvPr>
          <p:cNvSpPr>
            <a:spLocks noGrp="1"/>
          </p:cNvSpPr>
          <p:nvPr>
            <p:ph type="body" sz="quarter" idx="59"/>
          </p:nvPr>
        </p:nvSpPr>
        <p:spPr>
          <a:xfrm>
            <a:off x="518319" y="642855"/>
            <a:ext cx="9740106" cy="369332"/>
          </a:xfrm>
        </p:spPr>
        <p:txBody>
          <a:bodyPr/>
          <a:lstStyle/>
          <a:p>
            <a:r>
              <a:rPr lang="en-US" dirty="0">
                <a:cs typeface="Arial"/>
              </a:rPr>
              <a:t>Where we started – Final Design</a:t>
            </a:r>
            <a:endParaRPr lang="en-US" dirty="0"/>
          </a:p>
        </p:txBody>
      </p:sp>
    </p:spTree>
    <p:extLst>
      <p:ext uri="{BB962C8B-B14F-4D97-AF65-F5344CB8AC3E}">
        <p14:creationId xmlns:p14="http://schemas.microsoft.com/office/powerpoint/2010/main" val="28523054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DE0D513-8A3B-06D3-AE26-F6CC2921BD6F}"/>
              </a:ext>
            </a:extLst>
          </p:cNvPr>
          <p:cNvSpPr>
            <a:spLocks noGrp="1"/>
          </p:cNvSpPr>
          <p:nvPr>
            <p:ph type="dt" sz="half" idx="64"/>
          </p:nvPr>
        </p:nvSpPr>
        <p:spPr/>
        <p:txBody>
          <a:bodyPr/>
          <a:lstStyle/>
          <a:p>
            <a:fld id="{3823075D-91E6-43EC-89B5-724042DC203F}" type="datetime4">
              <a:rPr lang="de-DE" smtClean="0"/>
              <a:t>17. Februar 2025</a:t>
            </a:fld>
            <a:endParaRPr lang="de-DE"/>
          </a:p>
        </p:txBody>
      </p:sp>
      <p:sp>
        <p:nvSpPr>
          <p:cNvPr id="6" name="Slide Number Placeholder 5">
            <a:extLst>
              <a:ext uri="{FF2B5EF4-FFF2-40B4-BE49-F238E27FC236}">
                <a16:creationId xmlns:a16="http://schemas.microsoft.com/office/drawing/2014/main" id="{A8B6B08A-BE67-7974-BB0A-8AF6F2F89C8A}"/>
              </a:ext>
            </a:extLst>
          </p:cNvPr>
          <p:cNvSpPr>
            <a:spLocks noGrp="1"/>
          </p:cNvSpPr>
          <p:nvPr>
            <p:ph type="sldNum" sz="quarter" idx="66"/>
          </p:nvPr>
        </p:nvSpPr>
        <p:spPr/>
        <p:txBody>
          <a:bodyPr/>
          <a:lstStyle/>
          <a:p>
            <a:fld id="{C6A4AD45-2621-4550-9DC5-4911F1B5FA4D}" type="slidenum">
              <a:rPr lang="de-DE" smtClean="0"/>
              <a:pPr/>
              <a:t>14</a:t>
            </a:fld>
            <a:endParaRPr lang="de-DE"/>
          </a:p>
        </p:txBody>
      </p:sp>
      <p:sp>
        <p:nvSpPr>
          <p:cNvPr id="7" name="TextBox 6">
            <a:extLst>
              <a:ext uri="{FF2B5EF4-FFF2-40B4-BE49-F238E27FC236}">
                <a16:creationId xmlns:a16="http://schemas.microsoft.com/office/drawing/2014/main" id="{C06BACD4-EF3B-B8B8-DE5C-D3C1AFE6BD0D}"/>
              </a:ext>
            </a:extLst>
          </p:cNvPr>
          <p:cNvSpPr txBox="1"/>
          <p:nvPr/>
        </p:nvSpPr>
        <p:spPr>
          <a:xfrm>
            <a:off x="518459" y="316753"/>
            <a:ext cx="6911788"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800"/>
              </a:spcAft>
            </a:pPr>
            <a:r>
              <a:rPr lang="de-DE" sz="3200" b="1">
                <a:latin typeface="Calibri"/>
              </a:rPr>
              <a:t>Electrical Design: Motor Selection</a:t>
            </a:r>
            <a:r>
              <a:rPr lang="en-US" sz="3200">
                <a:latin typeface="Calibri"/>
                <a:cs typeface="Calibri"/>
              </a:rPr>
              <a:t>​</a:t>
            </a:r>
            <a:endParaRPr lang="en-US">
              <a:ea typeface="+mn-ea"/>
              <a:cs typeface="+mn-cs"/>
            </a:endParaRPr>
          </a:p>
        </p:txBody>
      </p:sp>
      <p:sp>
        <p:nvSpPr>
          <p:cNvPr id="9" name="Rectangle: Rounded Corners 8">
            <a:extLst>
              <a:ext uri="{FF2B5EF4-FFF2-40B4-BE49-F238E27FC236}">
                <a16:creationId xmlns:a16="http://schemas.microsoft.com/office/drawing/2014/main" id="{756685E5-C715-ED1B-C2D0-78BD4D56FE93}"/>
              </a:ext>
            </a:extLst>
          </p:cNvPr>
          <p:cNvSpPr/>
          <p:nvPr/>
        </p:nvSpPr>
        <p:spPr>
          <a:xfrm>
            <a:off x="514911" y="1179793"/>
            <a:ext cx="2378636" cy="690283"/>
          </a:xfrm>
          <a:prstGeom prst="roundRect">
            <a:avLst/>
          </a:prstGeom>
          <a:solidFill>
            <a:schemeClr val="accent2">
              <a:lumMod val="40000"/>
              <a:lumOff val="60000"/>
            </a:schemeClr>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gn="ctr">
              <a:spcAft>
                <a:spcPts val="800"/>
              </a:spcAft>
            </a:pPr>
            <a:r>
              <a:rPr lang="en-US" sz="1600">
                <a:solidFill>
                  <a:srgbClr val="000000"/>
                </a:solidFill>
                <a:latin typeface="ZEISS Frutiger Next W1G"/>
              </a:rPr>
              <a:t>Torque Calculations:</a:t>
            </a:r>
            <a:endParaRPr lang="en-US"/>
          </a:p>
        </p:txBody>
      </p:sp>
      <p:sp>
        <p:nvSpPr>
          <p:cNvPr id="10" name="TextBox 9">
            <a:extLst>
              <a:ext uri="{FF2B5EF4-FFF2-40B4-BE49-F238E27FC236}">
                <a16:creationId xmlns:a16="http://schemas.microsoft.com/office/drawing/2014/main" id="{9D4A68CB-A32E-32DA-900C-B2A56A265C62}"/>
              </a:ext>
            </a:extLst>
          </p:cNvPr>
          <p:cNvSpPr txBox="1"/>
          <p:nvPr/>
        </p:nvSpPr>
        <p:spPr>
          <a:xfrm>
            <a:off x="679230" y="2025111"/>
            <a:ext cx="2037690"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800"/>
              </a:spcAft>
            </a:pPr>
            <a:r>
              <a:rPr lang="en-US" sz="1600">
                <a:solidFill>
                  <a:srgbClr val="000000"/>
                </a:solidFill>
                <a:latin typeface="ZEISS Frutiger Next W1G"/>
              </a:rPr>
              <a:t>Force Analysis Diagram</a:t>
            </a:r>
            <a:endParaRPr kumimoji="0" lang="en-US" sz="1600" b="0" i="0" u="none" strike="noStrike" kern="1200" cap="none" spc="0" normalizeH="0" baseline="0" noProof="0">
              <a:ln>
                <a:noFill/>
              </a:ln>
              <a:solidFill>
                <a:srgbClr val="000000"/>
              </a:solidFill>
              <a:effectLst/>
              <a:uLnTx/>
              <a:uFillTx/>
              <a:latin typeface="ZEISS Frutiger Next W1G"/>
              <a:ea typeface="+mn-ea"/>
              <a:cs typeface="+mn-cs"/>
            </a:endParaRPr>
          </a:p>
        </p:txBody>
      </p:sp>
      <p:pic>
        <p:nvPicPr>
          <p:cNvPr id="15" name="Picture 14" descr="A graph on a piece of paper&#10;&#10;Description automatically generated">
            <a:extLst>
              <a:ext uri="{FF2B5EF4-FFF2-40B4-BE49-F238E27FC236}">
                <a16:creationId xmlns:a16="http://schemas.microsoft.com/office/drawing/2014/main" id="{7AFF2018-8BEE-F8AF-EFF6-B5B5A512C965}"/>
              </a:ext>
            </a:extLst>
          </p:cNvPr>
          <p:cNvPicPr>
            <a:picLocks noChangeAspect="1"/>
          </p:cNvPicPr>
          <p:nvPr/>
        </p:nvPicPr>
        <p:blipFill>
          <a:blip r:embed="rId2"/>
          <a:srcRect l="9893" r="18470" b="55273"/>
          <a:stretch/>
        </p:blipFill>
        <p:spPr>
          <a:xfrm>
            <a:off x="398429" y="2361595"/>
            <a:ext cx="3167005" cy="2609908"/>
          </a:xfrm>
          <a:prstGeom prst="rect">
            <a:avLst/>
          </a:prstGeom>
        </p:spPr>
      </p:pic>
      <p:sp>
        <p:nvSpPr>
          <p:cNvPr id="16" name="Rectangle: Rounded Corners 15">
            <a:extLst>
              <a:ext uri="{FF2B5EF4-FFF2-40B4-BE49-F238E27FC236}">
                <a16:creationId xmlns:a16="http://schemas.microsoft.com/office/drawing/2014/main" id="{FAD0AD17-02C3-3592-9CD1-FB12A770CF50}"/>
              </a:ext>
            </a:extLst>
          </p:cNvPr>
          <p:cNvSpPr/>
          <p:nvPr/>
        </p:nvSpPr>
        <p:spPr>
          <a:xfrm>
            <a:off x="3980330" y="2359213"/>
            <a:ext cx="3163046" cy="996575"/>
          </a:xfrm>
          <a:prstGeom prst="roundRect">
            <a:avLst/>
          </a:prstGeom>
          <a:solidFill>
            <a:srgbClr val="FA87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spcAft>
                <a:spcPts val="800"/>
              </a:spcAft>
            </a:pPr>
            <a:r>
              <a:rPr lang="en-US" sz="1600" err="1">
                <a:solidFill>
                  <a:srgbClr val="000000"/>
                </a:solidFill>
                <a:latin typeface="ZEISS Frutiger Next W1G"/>
              </a:rPr>
              <a:t>Wplate</a:t>
            </a:r>
            <a:r>
              <a:rPr lang="en-US" sz="1600">
                <a:solidFill>
                  <a:srgbClr val="000000"/>
                </a:solidFill>
                <a:latin typeface="ZEISS Frutiger Next W1G"/>
              </a:rPr>
              <a:t> = Weight of the balancing plate = 5.15 N (3.s.f)</a:t>
            </a:r>
          </a:p>
        </p:txBody>
      </p:sp>
      <p:sp>
        <p:nvSpPr>
          <p:cNvPr id="17" name="Rectangle: Rounded Corners 16">
            <a:extLst>
              <a:ext uri="{FF2B5EF4-FFF2-40B4-BE49-F238E27FC236}">
                <a16:creationId xmlns:a16="http://schemas.microsoft.com/office/drawing/2014/main" id="{EA38E477-58AE-CB3A-A052-30CE9EFB3132}"/>
              </a:ext>
            </a:extLst>
          </p:cNvPr>
          <p:cNvSpPr/>
          <p:nvPr/>
        </p:nvSpPr>
        <p:spPr>
          <a:xfrm>
            <a:off x="7639931" y="2046997"/>
            <a:ext cx="3163047" cy="1624104"/>
          </a:xfrm>
          <a:prstGeom prst="round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spcAft>
                <a:spcPts val="800"/>
              </a:spcAft>
            </a:pPr>
            <a:r>
              <a:rPr lang="en-US" sz="1600">
                <a:solidFill>
                  <a:srgbClr val="202122"/>
                </a:solidFill>
                <a:ea typeface="+mn-lt"/>
                <a:cs typeface="+mn-lt"/>
              </a:rPr>
              <a:t>Θ = 45</a:t>
            </a:r>
            <a:r>
              <a:rPr lang="en-US" sz="1600">
                <a:solidFill>
                  <a:schemeClr val="tx1"/>
                </a:solidFill>
                <a:ea typeface="+mn-lt"/>
                <a:cs typeface="+mn-lt"/>
              </a:rPr>
              <a:t>° (Stall/resting angle)</a:t>
            </a:r>
          </a:p>
          <a:p>
            <a:pPr>
              <a:spcAft>
                <a:spcPts val="800"/>
              </a:spcAft>
            </a:pPr>
            <a:r>
              <a:rPr lang="en-US" sz="1600">
                <a:solidFill>
                  <a:schemeClr val="tx1"/>
                </a:solidFill>
              </a:rPr>
              <a:t>X = (0.075)•cos(</a:t>
            </a:r>
            <a:r>
              <a:rPr lang="en-US" sz="1600">
                <a:solidFill>
                  <a:srgbClr val="202122"/>
                </a:solidFill>
                <a:ea typeface="+mn-lt"/>
                <a:cs typeface="+mn-lt"/>
              </a:rPr>
              <a:t>θ</a:t>
            </a:r>
            <a:r>
              <a:rPr lang="en-US" sz="1600">
                <a:solidFill>
                  <a:schemeClr val="tx1"/>
                </a:solidFill>
              </a:rPr>
              <a:t>)</a:t>
            </a:r>
          </a:p>
          <a:p>
            <a:pPr>
              <a:spcAft>
                <a:spcPts val="800"/>
              </a:spcAft>
            </a:pPr>
            <a:r>
              <a:rPr lang="en-US" sz="1600">
                <a:solidFill>
                  <a:schemeClr val="tx1"/>
                </a:solidFill>
              </a:rPr>
              <a:t>Y = </a:t>
            </a:r>
            <a:r>
              <a:rPr lang="en-US" sz="1600">
                <a:solidFill>
                  <a:schemeClr val="tx1"/>
                </a:solidFill>
                <a:ea typeface="+mn-lt"/>
                <a:cs typeface="+mn-lt"/>
              </a:rPr>
              <a:t>(0.075)•sin(</a:t>
            </a:r>
            <a:r>
              <a:rPr lang="en-US" sz="1600">
                <a:solidFill>
                  <a:srgbClr val="202122"/>
                </a:solidFill>
                <a:ea typeface="+mn-lt"/>
                <a:cs typeface="+mn-lt"/>
              </a:rPr>
              <a:t>θ</a:t>
            </a:r>
            <a:r>
              <a:rPr lang="en-US" sz="1600">
                <a:solidFill>
                  <a:schemeClr val="tx1"/>
                </a:solidFill>
                <a:ea typeface="+mn-lt"/>
                <a:cs typeface="+mn-lt"/>
              </a:rPr>
              <a:t>)</a:t>
            </a:r>
          </a:p>
          <a:p>
            <a:pPr>
              <a:spcAft>
                <a:spcPts val="800"/>
              </a:spcAft>
            </a:pPr>
            <a:endParaRPr lang="en-US" sz="1600">
              <a:solidFill>
                <a:schemeClr val="tx1"/>
              </a:solidFill>
            </a:endParaRPr>
          </a:p>
        </p:txBody>
      </p:sp>
      <p:sp>
        <p:nvSpPr>
          <p:cNvPr id="18" name="Rectangle: Rounded Corners 17">
            <a:extLst>
              <a:ext uri="{FF2B5EF4-FFF2-40B4-BE49-F238E27FC236}">
                <a16:creationId xmlns:a16="http://schemas.microsoft.com/office/drawing/2014/main" id="{40ADD9EC-0029-48A6-255C-5C6A3D1DE8AB}"/>
              </a:ext>
            </a:extLst>
          </p:cNvPr>
          <p:cNvSpPr/>
          <p:nvPr/>
        </p:nvSpPr>
        <p:spPr>
          <a:xfrm>
            <a:off x="2554381" y="5071970"/>
            <a:ext cx="6016811" cy="951752"/>
          </a:xfrm>
          <a:prstGeom prst="roundRect">
            <a:avLst/>
          </a:prstGeom>
          <a:solidFill>
            <a:srgbClr val="C8F7C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spcAft>
                <a:spcPts val="800"/>
              </a:spcAft>
            </a:pPr>
            <a:r>
              <a:rPr lang="en-US" sz="1600">
                <a:solidFill>
                  <a:srgbClr val="000000"/>
                </a:solidFill>
                <a:latin typeface="ZEISS Frutiger Next W1G"/>
              </a:rPr>
              <a:t>Balancing Plate torque (Approximation): </a:t>
            </a:r>
            <a:br>
              <a:rPr lang="en-US" sz="1600">
                <a:solidFill>
                  <a:srgbClr val="000000"/>
                </a:solidFill>
                <a:latin typeface="ZEISS Frutiger Next W1G"/>
              </a:rPr>
            </a:br>
            <a:r>
              <a:rPr lang="en-US" sz="1600">
                <a:solidFill>
                  <a:srgbClr val="000000"/>
                </a:solidFill>
                <a:latin typeface="ZEISS Frutiger Next W1G"/>
              </a:rPr>
              <a:t>Torque = </a:t>
            </a:r>
            <a:r>
              <a:rPr lang="en-US" sz="1600" err="1">
                <a:solidFill>
                  <a:srgbClr val="000000"/>
                </a:solidFill>
                <a:latin typeface="ZEISS Frutiger Next W1G"/>
              </a:rPr>
              <a:t>Wplate•X</a:t>
            </a:r>
            <a:r>
              <a:rPr lang="en-US" sz="1600">
                <a:solidFill>
                  <a:srgbClr val="000000"/>
                </a:solidFill>
                <a:latin typeface="ZEISS Frutiger Next W1G"/>
              </a:rPr>
              <a:t> = 2.79 kg-cm (3.s.f)</a:t>
            </a:r>
          </a:p>
          <a:p>
            <a:pPr>
              <a:spcAft>
                <a:spcPts val="800"/>
              </a:spcAft>
            </a:pPr>
            <a:endParaRPr lang="en-US" sz="1600">
              <a:solidFill>
                <a:srgbClr val="000000"/>
              </a:solidFill>
              <a:latin typeface="ZEISS Frutiger Next W1G"/>
            </a:endParaRPr>
          </a:p>
        </p:txBody>
      </p:sp>
    </p:spTree>
    <p:extLst>
      <p:ext uri="{BB962C8B-B14F-4D97-AF65-F5344CB8AC3E}">
        <p14:creationId xmlns:p14="http://schemas.microsoft.com/office/powerpoint/2010/main" val="17480420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09B742C-F3DA-190D-9161-745E6CCCEF1B}"/>
              </a:ext>
            </a:extLst>
          </p:cNvPr>
          <p:cNvSpPr>
            <a:spLocks noGrp="1"/>
          </p:cNvSpPr>
          <p:nvPr>
            <p:ph type="sldNum" sz="quarter" idx="66"/>
          </p:nvPr>
        </p:nvSpPr>
        <p:spPr/>
        <p:txBody>
          <a:bodyPr/>
          <a:lstStyle/>
          <a:p>
            <a:fld id="{C6A4AD45-2621-4550-9DC5-4911F1B5FA4D}" type="slidenum">
              <a:rPr lang="de-DE" smtClean="0"/>
              <a:pPr/>
              <a:t>15</a:t>
            </a:fld>
            <a:endParaRPr lang="de-DE"/>
          </a:p>
        </p:txBody>
      </p:sp>
      <p:sp>
        <p:nvSpPr>
          <p:cNvPr id="5" name="TextBox 1">
            <a:extLst>
              <a:ext uri="{FF2B5EF4-FFF2-40B4-BE49-F238E27FC236}">
                <a16:creationId xmlns:a16="http://schemas.microsoft.com/office/drawing/2014/main" id="{0610AB19-1BF3-76D3-95CB-A554095F0E71}"/>
              </a:ext>
            </a:extLst>
          </p:cNvPr>
          <p:cNvSpPr txBox="1"/>
          <p:nvPr/>
        </p:nvSpPr>
        <p:spPr>
          <a:xfrm>
            <a:off x="675340" y="309282"/>
            <a:ext cx="6312833"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800"/>
              </a:spcAft>
            </a:pPr>
            <a:r>
              <a:rPr lang="de-DE" sz="3200" b="1" err="1">
                <a:latin typeface="Calibri"/>
              </a:rPr>
              <a:t>Electrical</a:t>
            </a:r>
            <a:r>
              <a:rPr lang="de-DE" sz="3200" b="1">
                <a:latin typeface="Calibri"/>
              </a:rPr>
              <a:t> Design: Motor </a:t>
            </a:r>
            <a:r>
              <a:rPr lang="de-DE" sz="3200" b="1" err="1">
                <a:latin typeface="Calibri"/>
              </a:rPr>
              <a:t>Selection</a:t>
            </a:r>
            <a:endParaRPr lang="en-US" sz="3200" err="1">
              <a:latin typeface="Calibri"/>
            </a:endParaRPr>
          </a:p>
        </p:txBody>
      </p:sp>
      <p:sp>
        <p:nvSpPr>
          <p:cNvPr id="4" name="Rectangle: Rounded Corners 3">
            <a:extLst>
              <a:ext uri="{FF2B5EF4-FFF2-40B4-BE49-F238E27FC236}">
                <a16:creationId xmlns:a16="http://schemas.microsoft.com/office/drawing/2014/main" id="{DE911476-5663-C607-C633-D8D99DA610AE}"/>
              </a:ext>
            </a:extLst>
          </p:cNvPr>
          <p:cNvSpPr/>
          <p:nvPr/>
        </p:nvSpPr>
        <p:spPr>
          <a:xfrm>
            <a:off x="671793" y="1120028"/>
            <a:ext cx="2378636" cy="690283"/>
          </a:xfrm>
          <a:prstGeom prst="roundRect">
            <a:avLst/>
          </a:prstGeom>
          <a:solidFill>
            <a:schemeClr val="accent2">
              <a:lumMod val="40000"/>
              <a:lumOff val="60000"/>
            </a:schemeClr>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gn="ctr">
              <a:spcAft>
                <a:spcPts val="800"/>
              </a:spcAft>
            </a:pPr>
            <a:r>
              <a:rPr lang="en-US" sz="1600">
                <a:solidFill>
                  <a:srgbClr val="000000"/>
                </a:solidFill>
                <a:latin typeface="ZEISS Frutiger Next W1G"/>
              </a:rPr>
              <a:t>Initial Motor Selection:</a:t>
            </a:r>
            <a:endParaRPr lang="en-US"/>
          </a:p>
        </p:txBody>
      </p:sp>
      <p:sp>
        <p:nvSpPr>
          <p:cNvPr id="8" name="TextBox 7">
            <a:extLst>
              <a:ext uri="{FF2B5EF4-FFF2-40B4-BE49-F238E27FC236}">
                <a16:creationId xmlns:a16="http://schemas.microsoft.com/office/drawing/2014/main" id="{A0174860-EF8A-3918-ED46-02D3CFA4BEC5}"/>
              </a:ext>
            </a:extLst>
          </p:cNvPr>
          <p:cNvSpPr txBox="1"/>
          <p:nvPr/>
        </p:nvSpPr>
        <p:spPr>
          <a:xfrm>
            <a:off x="3260165" y="1340224"/>
            <a:ext cx="2743200"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800"/>
              </a:spcAft>
            </a:pPr>
            <a:r>
              <a:rPr lang="en-US" sz="1600">
                <a:latin typeface="ZEISS Frutiger Next W1G"/>
              </a:rPr>
              <a:t>MG 995 Servo Motor​</a:t>
            </a:r>
            <a:endParaRPr lang="en-US">
              <a:ea typeface="+mn-ea"/>
              <a:cs typeface="+mn-cs"/>
            </a:endParaRPr>
          </a:p>
        </p:txBody>
      </p:sp>
      <p:pic>
        <p:nvPicPr>
          <p:cNvPr id="9" name="Picture 8" descr="A small black metal device with wires&#10;&#10;Description automatically generated">
            <a:extLst>
              <a:ext uri="{FF2B5EF4-FFF2-40B4-BE49-F238E27FC236}">
                <a16:creationId xmlns:a16="http://schemas.microsoft.com/office/drawing/2014/main" id="{53AA6E3D-CBEB-7C2B-4EA7-A25D52F8176E}"/>
              </a:ext>
            </a:extLst>
          </p:cNvPr>
          <p:cNvPicPr>
            <a:picLocks noChangeAspect="1"/>
          </p:cNvPicPr>
          <p:nvPr/>
        </p:nvPicPr>
        <p:blipFill>
          <a:blip r:embed="rId2"/>
          <a:srcRect l="-77" r="4726" b="-272"/>
          <a:stretch/>
        </p:blipFill>
        <p:spPr>
          <a:xfrm>
            <a:off x="673234" y="1825812"/>
            <a:ext cx="2615666" cy="2750675"/>
          </a:xfrm>
          <a:prstGeom prst="rect">
            <a:avLst/>
          </a:prstGeom>
        </p:spPr>
      </p:pic>
      <p:pic>
        <p:nvPicPr>
          <p:cNvPr id="10" name="Picture 9" descr="A screenshot of a computer&#10;&#10;Description automatically generated">
            <a:extLst>
              <a:ext uri="{FF2B5EF4-FFF2-40B4-BE49-F238E27FC236}">
                <a16:creationId xmlns:a16="http://schemas.microsoft.com/office/drawing/2014/main" id="{32175C7A-F91D-8FA0-5BEF-816E246CDCDD}"/>
              </a:ext>
            </a:extLst>
          </p:cNvPr>
          <p:cNvPicPr>
            <a:picLocks noChangeAspect="1"/>
          </p:cNvPicPr>
          <p:nvPr/>
        </p:nvPicPr>
        <p:blipFill>
          <a:blip r:embed="rId3"/>
          <a:stretch>
            <a:fillRect/>
          </a:stretch>
        </p:blipFill>
        <p:spPr>
          <a:xfrm>
            <a:off x="3667938" y="1716862"/>
            <a:ext cx="4690223" cy="2767852"/>
          </a:xfrm>
          <a:prstGeom prst="rect">
            <a:avLst/>
          </a:prstGeom>
        </p:spPr>
      </p:pic>
      <p:sp>
        <p:nvSpPr>
          <p:cNvPr id="11" name="Rectangle: Rounded Corners 10">
            <a:extLst>
              <a:ext uri="{FF2B5EF4-FFF2-40B4-BE49-F238E27FC236}">
                <a16:creationId xmlns:a16="http://schemas.microsoft.com/office/drawing/2014/main" id="{F53FF460-3F71-9C9C-C648-56A52E1CF55F}"/>
              </a:ext>
            </a:extLst>
          </p:cNvPr>
          <p:cNvSpPr/>
          <p:nvPr/>
        </p:nvSpPr>
        <p:spPr>
          <a:xfrm>
            <a:off x="225424" y="4791928"/>
            <a:ext cx="8138458" cy="1579282"/>
          </a:xfrm>
          <a:prstGeom prst="roundRect">
            <a:avLst/>
          </a:prstGeom>
          <a:solidFill>
            <a:srgbClr val="FA87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spcAft>
                <a:spcPts val="800"/>
              </a:spcAft>
              <a:buFont typeface="Arial"/>
              <a:buChar char="•"/>
            </a:pPr>
            <a:r>
              <a:rPr lang="en-US" sz="1600">
                <a:solidFill>
                  <a:srgbClr val="000000"/>
                </a:solidFill>
              </a:rPr>
              <a:t>MG 995 servos are unable to properly lift-up the acrylic balancing plate</a:t>
            </a:r>
            <a:endParaRPr lang="en-US"/>
          </a:p>
          <a:p>
            <a:pPr marL="285750" indent="-285750">
              <a:spcAft>
                <a:spcPts val="800"/>
              </a:spcAft>
              <a:buFont typeface="Arial"/>
              <a:buChar char="•"/>
            </a:pPr>
            <a:r>
              <a:rPr lang="en-US" sz="1600">
                <a:solidFill>
                  <a:srgbClr val="000000"/>
                </a:solidFill>
              </a:rPr>
              <a:t>Concluded that these motors do not supply enough torque for the </a:t>
            </a:r>
            <a:r>
              <a:rPr lang="en-US" sz="1600" err="1">
                <a:solidFill>
                  <a:srgbClr val="000000"/>
                </a:solidFill>
              </a:rPr>
              <a:t>stewart</a:t>
            </a:r>
            <a:r>
              <a:rPr lang="en-US" sz="1600">
                <a:solidFill>
                  <a:srgbClr val="000000"/>
                </a:solidFill>
              </a:rPr>
              <a:t> platform</a:t>
            </a:r>
          </a:p>
          <a:p>
            <a:pPr marL="285750" indent="-285750">
              <a:spcAft>
                <a:spcPts val="800"/>
              </a:spcAft>
              <a:buFont typeface="Arial"/>
              <a:buChar char="•"/>
            </a:pPr>
            <a:r>
              <a:rPr lang="en-US" sz="1600">
                <a:solidFill>
                  <a:srgbClr val="000000"/>
                </a:solidFill>
              </a:rPr>
              <a:t>Torque calculation is performed to determine the amount of torque that the motor need to supply</a:t>
            </a:r>
          </a:p>
        </p:txBody>
      </p:sp>
      <p:sp>
        <p:nvSpPr>
          <p:cNvPr id="12" name="Rectangle 11">
            <a:extLst>
              <a:ext uri="{FF2B5EF4-FFF2-40B4-BE49-F238E27FC236}">
                <a16:creationId xmlns:a16="http://schemas.microsoft.com/office/drawing/2014/main" id="{15EC5375-91D9-C9A3-7A8E-5DFA5FC9377E}"/>
              </a:ext>
            </a:extLst>
          </p:cNvPr>
          <p:cNvSpPr/>
          <p:nvPr/>
        </p:nvSpPr>
        <p:spPr>
          <a:xfrm>
            <a:off x="3435821" y="1813576"/>
            <a:ext cx="70225" cy="276710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endParaRPr kumimoji="0" lang="en-US" sz="1600" b="0" i="0" u="none" strike="noStrike" kern="1200" cap="none" spc="0" normalizeH="0" baseline="0" noProof="0">
              <a:ln>
                <a:noFill/>
              </a:ln>
              <a:solidFill>
                <a:srgbClr val="000000"/>
              </a:solidFill>
              <a:effectLst/>
              <a:uLnTx/>
              <a:uFillTx/>
              <a:latin typeface="ZEISS Frutiger Next W1G"/>
              <a:ea typeface="+mn-ea"/>
              <a:cs typeface="+mn-cs"/>
            </a:endParaRPr>
          </a:p>
        </p:txBody>
      </p:sp>
      <p:sp>
        <p:nvSpPr>
          <p:cNvPr id="2" name="Rectangle: Rounded Corners 1">
            <a:extLst>
              <a:ext uri="{FF2B5EF4-FFF2-40B4-BE49-F238E27FC236}">
                <a16:creationId xmlns:a16="http://schemas.microsoft.com/office/drawing/2014/main" id="{FEBC1590-EB88-0F0B-60C5-2BE432126149}"/>
              </a:ext>
            </a:extLst>
          </p:cNvPr>
          <p:cNvSpPr/>
          <p:nvPr/>
        </p:nvSpPr>
        <p:spPr>
          <a:xfrm>
            <a:off x="8623036" y="4678425"/>
            <a:ext cx="2941889" cy="1796775"/>
          </a:xfrm>
          <a:prstGeom prst="roundRect">
            <a:avLst/>
          </a:prstGeom>
          <a:solidFill>
            <a:srgbClr val="FFF7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180000" rIns="180000" bIns="1800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r>
              <a:rPr lang="en-US" sz="1600">
                <a:solidFill>
                  <a:srgbClr val="000000"/>
                </a:solidFill>
                <a:latin typeface="ZEISS Frutiger Next W1G"/>
              </a:rPr>
              <a:t>Conclusion:</a:t>
            </a:r>
          </a:p>
          <a:p>
            <a:pPr marL="285750" indent="-285750">
              <a:spcAft>
                <a:spcPts val="800"/>
              </a:spcAft>
              <a:buFont typeface="Calibri" panose="020B0604020202020204" pitchFamily="34" charset="0"/>
              <a:buChar char="-"/>
            </a:pPr>
            <a:r>
              <a:rPr lang="en-US" sz="1600">
                <a:solidFill>
                  <a:srgbClr val="000000"/>
                </a:solidFill>
                <a:latin typeface="ZEISS Frutiger Next W1G"/>
              </a:rPr>
              <a:t>Select a motor with a higher torque rating</a:t>
            </a:r>
          </a:p>
        </p:txBody>
      </p:sp>
      <p:sp>
        <p:nvSpPr>
          <p:cNvPr id="3" name="Rectangle: Rounded Corners 2">
            <a:extLst>
              <a:ext uri="{FF2B5EF4-FFF2-40B4-BE49-F238E27FC236}">
                <a16:creationId xmlns:a16="http://schemas.microsoft.com/office/drawing/2014/main" id="{9A5569F1-5A79-9661-0AA3-63F68DC9D2CE}"/>
              </a:ext>
            </a:extLst>
          </p:cNvPr>
          <p:cNvSpPr/>
          <p:nvPr/>
        </p:nvSpPr>
        <p:spPr>
          <a:xfrm>
            <a:off x="8888366" y="2349346"/>
            <a:ext cx="2402174" cy="1707691"/>
          </a:xfrm>
          <a:prstGeom prst="round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180000" rIns="180000" bIns="1800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800"/>
              </a:spcAft>
            </a:pPr>
            <a:r>
              <a:rPr lang="en-US" sz="1600">
                <a:solidFill>
                  <a:srgbClr val="000000"/>
                </a:solidFill>
                <a:latin typeface="ZEISS Frutiger Next W1G"/>
              </a:rPr>
              <a:t>Friction between the joints could have increased the amount of torque required.</a:t>
            </a:r>
            <a:endParaRPr lang="en-US"/>
          </a:p>
        </p:txBody>
      </p:sp>
    </p:spTree>
    <p:extLst>
      <p:ext uri="{BB962C8B-B14F-4D97-AF65-F5344CB8AC3E}">
        <p14:creationId xmlns:p14="http://schemas.microsoft.com/office/powerpoint/2010/main" val="19707103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105EFA9A-1B03-F18C-53AD-D9D63D5E34D6}"/>
              </a:ext>
            </a:extLst>
          </p:cNvPr>
          <p:cNvSpPr>
            <a:spLocks noGrp="1"/>
          </p:cNvSpPr>
          <p:nvPr>
            <p:ph type="dt" sz="half" idx="64"/>
          </p:nvPr>
        </p:nvSpPr>
        <p:spPr/>
        <p:txBody>
          <a:bodyPr/>
          <a:lstStyle/>
          <a:p>
            <a:fld id="{3823075D-91E6-43EC-89B5-724042DC203F}" type="datetime4">
              <a:rPr lang="de-DE" smtClean="0"/>
              <a:t>17. Februar 2025</a:t>
            </a:fld>
            <a:endParaRPr lang="de-DE"/>
          </a:p>
        </p:txBody>
      </p:sp>
      <p:sp>
        <p:nvSpPr>
          <p:cNvPr id="6" name="Slide Number Placeholder 5">
            <a:extLst>
              <a:ext uri="{FF2B5EF4-FFF2-40B4-BE49-F238E27FC236}">
                <a16:creationId xmlns:a16="http://schemas.microsoft.com/office/drawing/2014/main" id="{4651A3E4-0FEE-C78E-DFB3-B116AC31C2F5}"/>
              </a:ext>
            </a:extLst>
          </p:cNvPr>
          <p:cNvSpPr>
            <a:spLocks noGrp="1"/>
          </p:cNvSpPr>
          <p:nvPr>
            <p:ph type="sldNum" sz="quarter" idx="66"/>
          </p:nvPr>
        </p:nvSpPr>
        <p:spPr/>
        <p:txBody>
          <a:bodyPr/>
          <a:lstStyle/>
          <a:p>
            <a:fld id="{C6A4AD45-2621-4550-9DC5-4911F1B5FA4D}" type="slidenum">
              <a:rPr lang="de-DE" smtClean="0"/>
              <a:pPr/>
              <a:t>16</a:t>
            </a:fld>
            <a:endParaRPr lang="de-DE"/>
          </a:p>
        </p:txBody>
      </p:sp>
      <p:sp>
        <p:nvSpPr>
          <p:cNvPr id="7" name="TextBox 6">
            <a:extLst>
              <a:ext uri="{FF2B5EF4-FFF2-40B4-BE49-F238E27FC236}">
                <a16:creationId xmlns:a16="http://schemas.microsoft.com/office/drawing/2014/main" id="{2EF4D24D-21D2-9B3E-4F8C-E564589CEB30}"/>
              </a:ext>
            </a:extLst>
          </p:cNvPr>
          <p:cNvSpPr txBox="1"/>
          <p:nvPr/>
        </p:nvSpPr>
        <p:spPr>
          <a:xfrm>
            <a:off x="519023" y="310551"/>
            <a:ext cx="6200954"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800"/>
              </a:spcAft>
            </a:pPr>
            <a:r>
              <a:rPr lang="de-DE" sz="3200" b="1" err="1">
                <a:latin typeface="Calibri"/>
              </a:rPr>
              <a:t>Electrical</a:t>
            </a:r>
            <a:r>
              <a:rPr lang="de-DE" sz="3200" b="1">
                <a:latin typeface="Calibri"/>
              </a:rPr>
              <a:t> Design: Motor </a:t>
            </a:r>
            <a:r>
              <a:rPr lang="de-DE" sz="3200" b="1" err="1">
                <a:latin typeface="Calibri"/>
              </a:rPr>
              <a:t>Selection</a:t>
            </a:r>
            <a:endParaRPr lang="en-US" sz="3200" err="1">
              <a:latin typeface="Calibri"/>
              <a:cs typeface="Calibri"/>
            </a:endParaRPr>
          </a:p>
        </p:txBody>
      </p:sp>
      <p:sp>
        <p:nvSpPr>
          <p:cNvPr id="9" name="Rectangle: Rounded Corners 8">
            <a:extLst>
              <a:ext uri="{FF2B5EF4-FFF2-40B4-BE49-F238E27FC236}">
                <a16:creationId xmlns:a16="http://schemas.microsoft.com/office/drawing/2014/main" id="{1C5EFBE6-DEC9-4CDA-EF09-9E4CA3784778}"/>
              </a:ext>
            </a:extLst>
          </p:cNvPr>
          <p:cNvSpPr/>
          <p:nvPr/>
        </p:nvSpPr>
        <p:spPr>
          <a:xfrm>
            <a:off x="671793" y="1120028"/>
            <a:ext cx="2378636" cy="690283"/>
          </a:xfrm>
          <a:prstGeom prst="roundRect">
            <a:avLst/>
          </a:prstGeom>
          <a:solidFill>
            <a:schemeClr val="accent2">
              <a:lumMod val="40000"/>
              <a:lumOff val="60000"/>
            </a:schemeClr>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gn="ctr">
              <a:spcAft>
                <a:spcPts val="800"/>
              </a:spcAft>
            </a:pPr>
            <a:r>
              <a:rPr lang="en-US" sz="1600">
                <a:solidFill>
                  <a:srgbClr val="000000"/>
                </a:solidFill>
                <a:latin typeface="ZEISS Frutiger Next W1G"/>
              </a:rPr>
              <a:t>Final Motor Selection:</a:t>
            </a:r>
            <a:endParaRPr lang="en-US"/>
          </a:p>
        </p:txBody>
      </p:sp>
      <p:sp>
        <p:nvSpPr>
          <p:cNvPr id="3" name="TextBox 2">
            <a:extLst>
              <a:ext uri="{FF2B5EF4-FFF2-40B4-BE49-F238E27FC236}">
                <a16:creationId xmlns:a16="http://schemas.microsoft.com/office/drawing/2014/main" id="{D4F288FD-8CA2-3AE9-A404-F8D8BCF3E53B}"/>
              </a:ext>
            </a:extLst>
          </p:cNvPr>
          <p:cNvSpPr txBox="1"/>
          <p:nvPr/>
        </p:nvSpPr>
        <p:spPr>
          <a:xfrm>
            <a:off x="3260165" y="1340224"/>
            <a:ext cx="2743200"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800"/>
              </a:spcAft>
            </a:pPr>
            <a:r>
              <a:rPr lang="en-US" sz="1600" err="1">
                <a:latin typeface="ZEISS Frutiger Next W1G"/>
              </a:rPr>
              <a:t>Stemedu</a:t>
            </a:r>
            <a:r>
              <a:rPr lang="en-US" sz="1600">
                <a:latin typeface="ZEISS Frutiger Next W1G"/>
              </a:rPr>
              <a:t> 40KG Electric Servo</a:t>
            </a:r>
            <a:endParaRPr lang="en-US">
              <a:ea typeface="+mn-ea"/>
              <a:cs typeface="+mn-cs"/>
            </a:endParaRPr>
          </a:p>
        </p:txBody>
      </p:sp>
      <p:pic>
        <p:nvPicPr>
          <p:cNvPr id="8" name="Picture 7" descr="A small electronic device with wires and screws&#10;&#10;Description automatically generated">
            <a:extLst>
              <a:ext uri="{FF2B5EF4-FFF2-40B4-BE49-F238E27FC236}">
                <a16:creationId xmlns:a16="http://schemas.microsoft.com/office/drawing/2014/main" id="{44F7EABF-EC15-47E0-C9B9-9C38E1C15DDE}"/>
              </a:ext>
            </a:extLst>
          </p:cNvPr>
          <p:cNvPicPr>
            <a:picLocks noChangeAspect="1"/>
          </p:cNvPicPr>
          <p:nvPr/>
        </p:nvPicPr>
        <p:blipFill>
          <a:blip r:embed="rId2"/>
          <a:stretch>
            <a:fillRect/>
          </a:stretch>
        </p:blipFill>
        <p:spPr>
          <a:xfrm>
            <a:off x="675341" y="2032890"/>
            <a:ext cx="2743200" cy="2568102"/>
          </a:xfrm>
          <a:prstGeom prst="rect">
            <a:avLst/>
          </a:prstGeom>
        </p:spPr>
      </p:pic>
      <p:pic>
        <p:nvPicPr>
          <p:cNvPr id="10" name="Picture 9" descr="A screenshot of a computer&#10;&#10;Description automatically generated">
            <a:extLst>
              <a:ext uri="{FF2B5EF4-FFF2-40B4-BE49-F238E27FC236}">
                <a16:creationId xmlns:a16="http://schemas.microsoft.com/office/drawing/2014/main" id="{546DFA70-DDDC-BE28-426F-1131462D42B3}"/>
              </a:ext>
            </a:extLst>
          </p:cNvPr>
          <p:cNvPicPr>
            <a:picLocks noChangeAspect="1"/>
          </p:cNvPicPr>
          <p:nvPr/>
        </p:nvPicPr>
        <p:blipFill>
          <a:blip r:embed="rId3"/>
          <a:stretch>
            <a:fillRect/>
          </a:stretch>
        </p:blipFill>
        <p:spPr>
          <a:xfrm>
            <a:off x="5041659" y="1590623"/>
            <a:ext cx="6357471" cy="3259529"/>
          </a:xfrm>
          <a:prstGeom prst="rect">
            <a:avLst/>
          </a:prstGeom>
        </p:spPr>
      </p:pic>
      <p:sp>
        <p:nvSpPr>
          <p:cNvPr id="12" name="Rectangle: Rounded Corners 11">
            <a:extLst>
              <a:ext uri="{FF2B5EF4-FFF2-40B4-BE49-F238E27FC236}">
                <a16:creationId xmlns:a16="http://schemas.microsoft.com/office/drawing/2014/main" id="{F8BFDC0F-DB85-FEE9-BA5C-079126AA1A01}"/>
              </a:ext>
            </a:extLst>
          </p:cNvPr>
          <p:cNvSpPr/>
          <p:nvPr/>
        </p:nvSpPr>
        <p:spPr>
          <a:xfrm>
            <a:off x="1756613" y="4853948"/>
            <a:ext cx="8138458" cy="1579282"/>
          </a:xfrm>
          <a:prstGeom prst="roundRect">
            <a:avLst/>
          </a:prstGeom>
          <a:solidFill>
            <a:srgbClr val="FA87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spcAft>
                <a:spcPts val="800"/>
              </a:spcAft>
              <a:buFont typeface="Arial"/>
              <a:buChar char="•"/>
            </a:pPr>
            <a:r>
              <a:rPr lang="en-US" sz="1600">
                <a:solidFill>
                  <a:srgbClr val="000000"/>
                </a:solidFill>
              </a:rPr>
              <a:t>A new motor is selected with roughly identical dimensions to our previous motor</a:t>
            </a:r>
          </a:p>
          <a:p>
            <a:pPr marL="285750" indent="-285750">
              <a:spcAft>
                <a:spcPts val="800"/>
              </a:spcAft>
              <a:buFont typeface="Arial"/>
              <a:buChar char="•"/>
            </a:pPr>
            <a:r>
              <a:rPr lang="en-US" sz="1600">
                <a:solidFill>
                  <a:srgbClr val="000000"/>
                </a:solidFill>
              </a:rPr>
              <a:t>The new motor is capable of supplying significantly more torque (around 3 times of the original motor)</a:t>
            </a:r>
          </a:p>
          <a:p>
            <a:pPr marL="285750" indent="-285750">
              <a:spcAft>
                <a:spcPts val="800"/>
              </a:spcAft>
              <a:buFont typeface="Arial"/>
              <a:buChar char="•"/>
            </a:pPr>
            <a:r>
              <a:rPr lang="en-US" sz="1600">
                <a:solidFill>
                  <a:srgbClr val="000000"/>
                </a:solidFill>
              </a:rPr>
              <a:t>This allows us to account for the additional torque incurred from friction</a:t>
            </a:r>
          </a:p>
        </p:txBody>
      </p:sp>
    </p:spTree>
    <p:extLst>
      <p:ext uri="{BB962C8B-B14F-4D97-AF65-F5344CB8AC3E}">
        <p14:creationId xmlns:p14="http://schemas.microsoft.com/office/powerpoint/2010/main" val="30387471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oliennummernplatzhalter 26">
            <a:extLst>
              <a:ext uri="{FF2B5EF4-FFF2-40B4-BE49-F238E27FC236}">
                <a16:creationId xmlns:a16="http://schemas.microsoft.com/office/drawing/2014/main" id="{6ACF39F5-C145-B30E-6FE5-364D7828441D}"/>
              </a:ext>
            </a:extLst>
          </p:cNvPr>
          <p:cNvSpPr>
            <a:spLocks noGrp="1"/>
          </p:cNvSpPr>
          <p:nvPr>
            <p:ph type="sldNum" sz="quarter" idx="66"/>
          </p:nvPr>
        </p:nvSpPr>
        <p:spPr/>
        <p:txBody>
          <a:bodyPr/>
          <a:lstStyle/>
          <a:p>
            <a:fld id="{C6A4AD45-2621-4550-9DC5-4911F1B5FA4D}" type="slidenum">
              <a:rPr lang="de-DE" smtClean="0"/>
              <a:pPr/>
              <a:t>17</a:t>
            </a:fld>
            <a:endParaRPr lang="de-DE"/>
          </a:p>
        </p:txBody>
      </p:sp>
      <p:sp>
        <p:nvSpPr>
          <p:cNvPr id="9" name="TextBox 8">
            <a:extLst>
              <a:ext uri="{FF2B5EF4-FFF2-40B4-BE49-F238E27FC236}">
                <a16:creationId xmlns:a16="http://schemas.microsoft.com/office/drawing/2014/main" id="{7333D423-E2BE-37CF-A67B-0F3F1234C3B8}"/>
              </a:ext>
            </a:extLst>
          </p:cNvPr>
          <p:cNvSpPr txBox="1"/>
          <p:nvPr/>
        </p:nvSpPr>
        <p:spPr>
          <a:xfrm>
            <a:off x="519022" y="346495"/>
            <a:ext cx="7390537"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800"/>
              </a:spcAft>
            </a:pPr>
            <a:r>
              <a:rPr lang="de-DE" sz="3200" b="1">
                <a:latin typeface="Calibri"/>
              </a:rPr>
              <a:t>Software Design and Iterations – Key Points</a:t>
            </a:r>
            <a:r>
              <a:rPr lang="en-US" sz="3200">
                <a:latin typeface="Calibri"/>
                <a:cs typeface="Calibri"/>
              </a:rPr>
              <a:t>​</a:t>
            </a:r>
            <a:endParaRPr lang="en-US"/>
          </a:p>
        </p:txBody>
      </p:sp>
      <p:grpSp>
        <p:nvGrpSpPr>
          <p:cNvPr id="13" name="Group 12">
            <a:extLst>
              <a:ext uri="{FF2B5EF4-FFF2-40B4-BE49-F238E27FC236}">
                <a16:creationId xmlns:a16="http://schemas.microsoft.com/office/drawing/2014/main" id="{876D235B-583B-4B75-8CDD-49CEF0C4D00A}"/>
              </a:ext>
            </a:extLst>
          </p:cNvPr>
          <p:cNvGrpSpPr/>
          <p:nvPr/>
        </p:nvGrpSpPr>
        <p:grpSpPr>
          <a:xfrm>
            <a:off x="3992409" y="1421952"/>
            <a:ext cx="5066718" cy="4014096"/>
            <a:chOff x="2221435" y="2083221"/>
            <a:chExt cx="5066718" cy="4014096"/>
          </a:xfrm>
        </p:grpSpPr>
        <p:cxnSp>
          <p:nvCxnSpPr>
            <p:cNvPr id="15" name="Straight Connector 14">
              <a:extLst>
                <a:ext uri="{FF2B5EF4-FFF2-40B4-BE49-F238E27FC236}">
                  <a16:creationId xmlns:a16="http://schemas.microsoft.com/office/drawing/2014/main" id="{3F501DD9-E3D8-4BFE-A2F9-1681CC63AEA2}"/>
                </a:ext>
              </a:extLst>
            </p:cNvPr>
            <p:cNvCxnSpPr>
              <a:cxnSpLocks/>
              <a:stCxn id="34" idx="4"/>
            </p:cNvCxnSpPr>
            <p:nvPr/>
          </p:nvCxnSpPr>
          <p:spPr>
            <a:xfrm flipH="1">
              <a:off x="4633674" y="2514525"/>
              <a:ext cx="227858" cy="1264160"/>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9184C1F-F122-4904-AE8D-CAB5D4587D8B}"/>
                </a:ext>
              </a:extLst>
            </p:cNvPr>
            <p:cNvCxnSpPr>
              <a:cxnSpLocks/>
              <a:stCxn id="31" idx="2"/>
            </p:cNvCxnSpPr>
            <p:nvPr/>
          </p:nvCxnSpPr>
          <p:spPr>
            <a:xfrm flipH="1">
              <a:off x="5129781" y="3756161"/>
              <a:ext cx="1601680" cy="344763"/>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5D2E3ED-3CCC-4CDF-B326-AA363689985B}"/>
                </a:ext>
              </a:extLst>
            </p:cNvPr>
            <p:cNvCxnSpPr>
              <a:cxnSpLocks/>
              <a:stCxn id="25" idx="3"/>
            </p:cNvCxnSpPr>
            <p:nvPr/>
          </p:nvCxnSpPr>
          <p:spPr>
            <a:xfrm flipH="1">
              <a:off x="4413919" y="3008482"/>
              <a:ext cx="1431266" cy="1171356"/>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BA8BB46-406A-4E5B-9C8A-CD5C58B83FC9}"/>
                </a:ext>
              </a:extLst>
            </p:cNvPr>
            <p:cNvCxnSpPr>
              <a:cxnSpLocks/>
              <a:stCxn id="26" idx="5"/>
            </p:cNvCxnSpPr>
            <p:nvPr/>
          </p:nvCxnSpPr>
          <p:spPr>
            <a:xfrm>
              <a:off x="3298583" y="3181194"/>
              <a:ext cx="1273416" cy="824069"/>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D754A18-22D3-4C69-82E4-D659B7BAF88C}"/>
                </a:ext>
              </a:extLst>
            </p:cNvPr>
            <p:cNvCxnSpPr>
              <a:cxnSpLocks/>
              <a:stCxn id="28" idx="7"/>
            </p:cNvCxnSpPr>
            <p:nvPr/>
          </p:nvCxnSpPr>
          <p:spPr>
            <a:xfrm flipV="1">
              <a:off x="3143375" y="4164475"/>
              <a:ext cx="1189906" cy="1010902"/>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1413897-9DA5-40B0-995D-A63127392405}"/>
                </a:ext>
              </a:extLst>
            </p:cNvPr>
            <p:cNvCxnSpPr>
              <a:cxnSpLocks/>
              <a:endCxn id="32" idx="6"/>
            </p:cNvCxnSpPr>
            <p:nvPr/>
          </p:nvCxnSpPr>
          <p:spPr>
            <a:xfrm flipH="1">
              <a:off x="3056847" y="4014507"/>
              <a:ext cx="1294492" cy="180910"/>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62FF15B-192F-49B1-BD1B-C4F5A194EFF1}"/>
                </a:ext>
              </a:extLst>
            </p:cNvPr>
            <p:cNvCxnSpPr>
              <a:cxnSpLocks/>
              <a:endCxn id="33" idx="0"/>
            </p:cNvCxnSpPr>
            <p:nvPr/>
          </p:nvCxnSpPr>
          <p:spPr>
            <a:xfrm flipH="1">
              <a:off x="4295510" y="3578229"/>
              <a:ext cx="267928" cy="1816287"/>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5D456A3-F494-485A-92BE-699CC7EB52BE}"/>
                </a:ext>
              </a:extLst>
            </p:cNvPr>
            <p:cNvCxnSpPr>
              <a:cxnSpLocks/>
              <a:endCxn id="30" idx="1"/>
            </p:cNvCxnSpPr>
            <p:nvPr/>
          </p:nvCxnSpPr>
          <p:spPr>
            <a:xfrm>
              <a:off x="4739077" y="4225042"/>
              <a:ext cx="926239" cy="779000"/>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B010C026-3802-4286-A77A-E1199267FA9A}"/>
                </a:ext>
              </a:extLst>
            </p:cNvPr>
            <p:cNvSpPr/>
            <p:nvPr/>
          </p:nvSpPr>
          <p:spPr>
            <a:xfrm>
              <a:off x="3671899" y="3068960"/>
              <a:ext cx="1800200" cy="18002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altLang="ko-KR">
                  <a:solidFill>
                    <a:schemeClr val="tx1">
                      <a:lumMod val="95000"/>
                      <a:lumOff val="5000"/>
                    </a:schemeClr>
                  </a:solidFill>
                </a:rPr>
                <a:t>Software Design</a:t>
              </a:r>
              <a:endParaRPr lang="ko-KR" altLang="en-US">
                <a:solidFill>
                  <a:schemeClr val="tx1">
                    <a:lumMod val="95000"/>
                    <a:lumOff val="5000"/>
                  </a:schemeClr>
                </a:solidFill>
              </a:endParaRPr>
            </a:p>
          </p:txBody>
        </p:sp>
        <p:sp>
          <p:nvSpPr>
            <p:cNvPr id="25" name="Oval 24">
              <a:extLst>
                <a:ext uri="{FF2B5EF4-FFF2-40B4-BE49-F238E27FC236}">
                  <a16:creationId xmlns:a16="http://schemas.microsoft.com/office/drawing/2014/main" id="{EA841127-0B72-400E-AB5C-5996369E3F23}"/>
                </a:ext>
              </a:extLst>
            </p:cNvPr>
            <p:cNvSpPr/>
            <p:nvPr/>
          </p:nvSpPr>
          <p:spPr>
            <a:xfrm>
              <a:off x="5697550" y="2148005"/>
              <a:ext cx="1008112" cy="1008112"/>
            </a:xfrm>
            <a:prstGeom prst="ellipse">
              <a:avLst/>
            </a:prstGeom>
            <a:solidFill>
              <a:schemeClr val="accent4"/>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a:p>
          </p:txBody>
        </p:sp>
        <p:sp>
          <p:nvSpPr>
            <p:cNvPr id="26" name="Oval 25">
              <a:extLst>
                <a:ext uri="{FF2B5EF4-FFF2-40B4-BE49-F238E27FC236}">
                  <a16:creationId xmlns:a16="http://schemas.microsoft.com/office/drawing/2014/main" id="{D9CD124E-7F9C-4C15-BB2B-846DC19013E9}"/>
                </a:ext>
              </a:extLst>
            </p:cNvPr>
            <p:cNvSpPr/>
            <p:nvPr/>
          </p:nvSpPr>
          <p:spPr>
            <a:xfrm>
              <a:off x="2506080" y="2388691"/>
              <a:ext cx="928475" cy="928475"/>
            </a:xfrm>
            <a:prstGeom prst="ellipse">
              <a:avLst/>
            </a:prstGeom>
            <a:solidFill>
              <a:schemeClr val="accent3"/>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a:p>
          </p:txBody>
        </p:sp>
        <p:sp>
          <p:nvSpPr>
            <p:cNvPr id="28" name="Oval 27">
              <a:extLst>
                <a:ext uri="{FF2B5EF4-FFF2-40B4-BE49-F238E27FC236}">
                  <a16:creationId xmlns:a16="http://schemas.microsoft.com/office/drawing/2014/main" id="{D52005BE-D983-4EB9-BEA3-07C1BBC8A6BF}"/>
                </a:ext>
              </a:extLst>
            </p:cNvPr>
            <p:cNvSpPr/>
            <p:nvPr/>
          </p:nvSpPr>
          <p:spPr>
            <a:xfrm>
              <a:off x="2221435" y="5017197"/>
              <a:ext cx="1080120" cy="1080120"/>
            </a:xfrm>
            <a:prstGeom prst="ellipse">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a:p>
          </p:txBody>
        </p:sp>
        <p:sp>
          <p:nvSpPr>
            <p:cNvPr id="30" name="Oval 29">
              <a:extLst>
                <a:ext uri="{FF2B5EF4-FFF2-40B4-BE49-F238E27FC236}">
                  <a16:creationId xmlns:a16="http://schemas.microsoft.com/office/drawing/2014/main" id="{75AE09E3-BEA6-4B5A-9103-2B6063C50E76}"/>
                </a:ext>
              </a:extLst>
            </p:cNvPr>
            <p:cNvSpPr/>
            <p:nvPr/>
          </p:nvSpPr>
          <p:spPr>
            <a:xfrm>
              <a:off x="5540490" y="4879216"/>
              <a:ext cx="852363" cy="852363"/>
            </a:xfrm>
            <a:prstGeom prst="ellipse">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a:p>
          </p:txBody>
        </p:sp>
        <p:sp>
          <p:nvSpPr>
            <p:cNvPr id="31" name="Oval 30">
              <a:extLst>
                <a:ext uri="{FF2B5EF4-FFF2-40B4-BE49-F238E27FC236}">
                  <a16:creationId xmlns:a16="http://schemas.microsoft.com/office/drawing/2014/main" id="{091970E9-B341-497A-854A-4B65909F0B77}"/>
                </a:ext>
              </a:extLst>
            </p:cNvPr>
            <p:cNvSpPr/>
            <p:nvPr/>
          </p:nvSpPr>
          <p:spPr>
            <a:xfrm>
              <a:off x="6731461" y="3477815"/>
              <a:ext cx="556692" cy="55669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a:p>
          </p:txBody>
        </p:sp>
        <p:sp>
          <p:nvSpPr>
            <p:cNvPr id="32" name="Oval 31">
              <a:extLst>
                <a:ext uri="{FF2B5EF4-FFF2-40B4-BE49-F238E27FC236}">
                  <a16:creationId xmlns:a16="http://schemas.microsoft.com/office/drawing/2014/main" id="{1E5BED45-4DC4-4ED3-9E4A-CC81DBF89B85}"/>
                </a:ext>
              </a:extLst>
            </p:cNvPr>
            <p:cNvSpPr/>
            <p:nvPr/>
          </p:nvSpPr>
          <p:spPr>
            <a:xfrm>
              <a:off x="2412720" y="3873353"/>
              <a:ext cx="644127" cy="64412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a:p>
          </p:txBody>
        </p:sp>
        <p:sp>
          <p:nvSpPr>
            <p:cNvPr id="33" name="Oval 32">
              <a:extLst>
                <a:ext uri="{FF2B5EF4-FFF2-40B4-BE49-F238E27FC236}">
                  <a16:creationId xmlns:a16="http://schemas.microsoft.com/office/drawing/2014/main" id="{13E3C802-5A00-434C-988F-8476FFAC0ACA}"/>
                </a:ext>
              </a:extLst>
            </p:cNvPr>
            <p:cNvSpPr/>
            <p:nvPr/>
          </p:nvSpPr>
          <p:spPr>
            <a:xfrm>
              <a:off x="4062470" y="5394516"/>
              <a:ext cx="466079" cy="46607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a:p>
          </p:txBody>
        </p:sp>
        <p:sp>
          <p:nvSpPr>
            <p:cNvPr id="34" name="Oval 33">
              <a:extLst>
                <a:ext uri="{FF2B5EF4-FFF2-40B4-BE49-F238E27FC236}">
                  <a16:creationId xmlns:a16="http://schemas.microsoft.com/office/drawing/2014/main" id="{48092B67-1EA0-4A1B-A801-2FBECFCC82CF}"/>
                </a:ext>
              </a:extLst>
            </p:cNvPr>
            <p:cNvSpPr/>
            <p:nvPr/>
          </p:nvSpPr>
          <p:spPr>
            <a:xfrm>
              <a:off x="4645880" y="2083221"/>
              <a:ext cx="431304" cy="43130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a:p>
          </p:txBody>
        </p:sp>
      </p:grpSp>
      <p:grpSp>
        <p:nvGrpSpPr>
          <p:cNvPr id="35" name="Group 34">
            <a:extLst>
              <a:ext uri="{FF2B5EF4-FFF2-40B4-BE49-F238E27FC236}">
                <a16:creationId xmlns:a16="http://schemas.microsoft.com/office/drawing/2014/main" id="{D5F34205-A176-4CA6-977A-C0D70870506F}"/>
              </a:ext>
            </a:extLst>
          </p:cNvPr>
          <p:cNvGrpSpPr/>
          <p:nvPr/>
        </p:nvGrpSpPr>
        <p:grpSpPr>
          <a:xfrm>
            <a:off x="8827484" y="1430578"/>
            <a:ext cx="2772000" cy="1500555"/>
            <a:chOff x="539552" y="2708920"/>
            <a:chExt cx="1872208" cy="1500555"/>
          </a:xfrm>
        </p:grpSpPr>
        <p:sp>
          <p:nvSpPr>
            <p:cNvPr id="36" name="Rounded Rectangle 93">
              <a:extLst>
                <a:ext uri="{FF2B5EF4-FFF2-40B4-BE49-F238E27FC236}">
                  <a16:creationId xmlns:a16="http://schemas.microsoft.com/office/drawing/2014/main" id="{7E33BE8F-7805-4E21-85B5-0AD74CEF5F8F}"/>
                </a:ext>
              </a:extLst>
            </p:cNvPr>
            <p:cNvSpPr/>
            <p:nvPr/>
          </p:nvSpPr>
          <p:spPr>
            <a:xfrm>
              <a:off x="611560" y="2708920"/>
              <a:ext cx="1728192" cy="379785"/>
            </a:xfrm>
            <a:prstGeom prst="roundRect">
              <a:avLst>
                <a:gd name="adj" fmla="val 50000"/>
              </a:avLst>
            </a:prstGeom>
            <a:solidFill>
              <a:schemeClr val="accent4"/>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a:p>
          </p:txBody>
        </p:sp>
        <p:sp>
          <p:nvSpPr>
            <p:cNvPr id="37" name="TextBox 24">
              <a:extLst>
                <a:ext uri="{FF2B5EF4-FFF2-40B4-BE49-F238E27FC236}">
                  <a16:creationId xmlns:a16="http://schemas.microsoft.com/office/drawing/2014/main" id="{E63B8F72-0C39-4049-B965-C1E39209CD8E}"/>
                </a:ext>
              </a:extLst>
            </p:cNvPr>
            <p:cNvSpPr txBox="1"/>
            <p:nvPr/>
          </p:nvSpPr>
          <p:spPr>
            <a:xfrm>
              <a:off x="539552" y="3193812"/>
              <a:ext cx="1872208" cy="101566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US" altLang="ko-KR" sz="1200">
                  <a:solidFill>
                    <a:schemeClr val="tx1">
                      <a:lumMod val="75000"/>
                      <a:lumOff val="25000"/>
                    </a:schemeClr>
                  </a:solidFill>
                  <a:cs typeface="Arial" pitchFamily="34" charset="0"/>
                </a:rPr>
                <a:t>Find normal of opposite point (-x,-y) to determine tilt to return to center</a:t>
              </a:r>
            </a:p>
            <a:p>
              <a:pPr marL="171450" indent="-171450">
                <a:buFont typeface="Arial" panose="020B0604020202020204" pitchFamily="34" charset="0"/>
                <a:buChar char="•"/>
              </a:pPr>
              <a:r>
                <a:rPr lang="en-US" altLang="ko-KR" sz="1200">
                  <a:solidFill>
                    <a:schemeClr val="tx1">
                      <a:lumMod val="75000"/>
                      <a:lumOff val="25000"/>
                    </a:schemeClr>
                  </a:solidFill>
                  <a:cs typeface="Arial" pitchFamily="34" charset="0"/>
                </a:rPr>
                <a:t>Scrapped for PID controller as not scalable for velocity and disturbance control</a:t>
              </a:r>
            </a:p>
          </p:txBody>
        </p:sp>
        <p:sp>
          <p:nvSpPr>
            <p:cNvPr id="38" name="TextBox 25">
              <a:extLst>
                <a:ext uri="{FF2B5EF4-FFF2-40B4-BE49-F238E27FC236}">
                  <a16:creationId xmlns:a16="http://schemas.microsoft.com/office/drawing/2014/main" id="{22691FBF-4771-47F6-A111-1BC9273483CC}"/>
                </a:ext>
              </a:extLst>
            </p:cNvPr>
            <p:cNvSpPr txBox="1"/>
            <p:nvPr/>
          </p:nvSpPr>
          <p:spPr>
            <a:xfrm>
              <a:off x="665833" y="2744923"/>
              <a:ext cx="1619647"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ko-KR" sz="1400" b="1">
                  <a:solidFill>
                    <a:schemeClr val="bg1"/>
                  </a:solidFill>
                  <a:cs typeface="Arial" pitchFamily="34" charset="0"/>
                </a:rPr>
                <a:t>“Ghost” Point</a:t>
              </a:r>
              <a:endParaRPr lang="ko-KR" altLang="en-US" sz="1400" b="1">
                <a:solidFill>
                  <a:schemeClr val="bg1"/>
                </a:solidFill>
                <a:cs typeface="Arial" pitchFamily="34" charset="0"/>
              </a:endParaRPr>
            </a:p>
          </p:txBody>
        </p:sp>
      </p:grpSp>
      <p:grpSp>
        <p:nvGrpSpPr>
          <p:cNvPr id="39" name="Group 38">
            <a:extLst>
              <a:ext uri="{FF2B5EF4-FFF2-40B4-BE49-F238E27FC236}">
                <a16:creationId xmlns:a16="http://schemas.microsoft.com/office/drawing/2014/main" id="{060CA469-0A32-4A4E-8427-44ABBEE675B5}"/>
              </a:ext>
            </a:extLst>
          </p:cNvPr>
          <p:cNvGrpSpPr/>
          <p:nvPr/>
        </p:nvGrpSpPr>
        <p:grpSpPr>
          <a:xfrm>
            <a:off x="8827484" y="4342773"/>
            <a:ext cx="2772000" cy="1131223"/>
            <a:chOff x="539552" y="2708920"/>
            <a:chExt cx="1872208" cy="1131223"/>
          </a:xfrm>
        </p:grpSpPr>
        <p:sp>
          <p:nvSpPr>
            <p:cNvPr id="40" name="Rounded Rectangle 97">
              <a:extLst>
                <a:ext uri="{FF2B5EF4-FFF2-40B4-BE49-F238E27FC236}">
                  <a16:creationId xmlns:a16="http://schemas.microsoft.com/office/drawing/2014/main" id="{475C21F5-C8B8-46C5-A762-CD9A2B5FBC4D}"/>
                </a:ext>
              </a:extLst>
            </p:cNvPr>
            <p:cNvSpPr/>
            <p:nvPr/>
          </p:nvSpPr>
          <p:spPr>
            <a:xfrm>
              <a:off x="611560" y="2708920"/>
              <a:ext cx="1728192" cy="379785"/>
            </a:xfrm>
            <a:prstGeom prst="roundRect">
              <a:avLst>
                <a:gd name="adj" fmla="val 50000"/>
              </a:avLst>
            </a:pr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a:p>
          </p:txBody>
        </p:sp>
        <p:sp>
          <p:nvSpPr>
            <p:cNvPr id="41" name="TextBox 28">
              <a:extLst>
                <a:ext uri="{FF2B5EF4-FFF2-40B4-BE49-F238E27FC236}">
                  <a16:creationId xmlns:a16="http://schemas.microsoft.com/office/drawing/2014/main" id="{534CC06A-9008-44E6-982A-F3D576AF80C2}"/>
                </a:ext>
              </a:extLst>
            </p:cNvPr>
            <p:cNvSpPr txBox="1"/>
            <p:nvPr/>
          </p:nvSpPr>
          <p:spPr>
            <a:xfrm>
              <a:off x="539552" y="3193812"/>
              <a:ext cx="1872208"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US" altLang="ko-KR" sz="1200">
                  <a:solidFill>
                    <a:schemeClr val="tx1">
                      <a:lumMod val="75000"/>
                      <a:lumOff val="25000"/>
                    </a:schemeClr>
                  </a:solidFill>
                  <a:cs typeface="Arial" pitchFamily="34" charset="0"/>
                </a:rPr>
                <a:t>Servos</a:t>
              </a:r>
            </a:p>
            <a:p>
              <a:pPr marL="171450" indent="-171450">
                <a:buFont typeface="Arial" panose="020B0604020202020204" pitchFamily="34" charset="0"/>
                <a:buChar char="•"/>
              </a:pPr>
              <a:r>
                <a:rPr lang="en-US" altLang="ko-KR" sz="1200">
                  <a:solidFill>
                    <a:schemeClr val="tx1">
                      <a:lumMod val="75000"/>
                      <a:lumOff val="25000"/>
                    </a:schemeClr>
                  </a:solidFill>
                  <a:cs typeface="Arial" pitchFamily="34" charset="0"/>
                </a:rPr>
                <a:t>Use center of initial ball placement as origin</a:t>
              </a:r>
            </a:p>
          </p:txBody>
        </p:sp>
        <p:sp>
          <p:nvSpPr>
            <p:cNvPr id="44" name="TextBox 29">
              <a:extLst>
                <a:ext uri="{FF2B5EF4-FFF2-40B4-BE49-F238E27FC236}">
                  <a16:creationId xmlns:a16="http://schemas.microsoft.com/office/drawing/2014/main" id="{B0F1B315-6C66-4A9D-A848-849C643BD499}"/>
                </a:ext>
              </a:extLst>
            </p:cNvPr>
            <p:cNvSpPr txBox="1"/>
            <p:nvPr/>
          </p:nvSpPr>
          <p:spPr>
            <a:xfrm>
              <a:off x="665833" y="2744923"/>
              <a:ext cx="1619647"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ko-KR" sz="1400" b="1">
                  <a:solidFill>
                    <a:schemeClr val="bg1"/>
                  </a:solidFill>
                  <a:cs typeface="Arial" pitchFamily="34" charset="0"/>
                </a:rPr>
                <a:t>Homing Design</a:t>
              </a:r>
              <a:endParaRPr lang="ko-KR" altLang="en-US" sz="1400" b="1">
                <a:solidFill>
                  <a:schemeClr val="bg1"/>
                </a:solidFill>
                <a:cs typeface="Arial" pitchFamily="34" charset="0"/>
              </a:endParaRPr>
            </a:p>
          </p:txBody>
        </p:sp>
      </p:grpSp>
      <p:grpSp>
        <p:nvGrpSpPr>
          <p:cNvPr id="45" name="Group 44">
            <a:extLst>
              <a:ext uri="{FF2B5EF4-FFF2-40B4-BE49-F238E27FC236}">
                <a16:creationId xmlns:a16="http://schemas.microsoft.com/office/drawing/2014/main" id="{FE07308D-732D-4AEC-8BAE-A5F16F49ECBA}"/>
              </a:ext>
            </a:extLst>
          </p:cNvPr>
          <p:cNvGrpSpPr/>
          <p:nvPr/>
        </p:nvGrpSpPr>
        <p:grpSpPr>
          <a:xfrm>
            <a:off x="674480" y="4378776"/>
            <a:ext cx="2772000" cy="1315889"/>
            <a:chOff x="539552" y="2708920"/>
            <a:chExt cx="1872208" cy="1315889"/>
          </a:xfrm>
        </p:grpSpPr>
        <p:sp>
          <p:nvSpPr>
            <p:cNvPr id="46" name="Rounded Rectangle 101">
              <a:extLst>
                <a:ext uri="{FF2B5EF4-FFF2-40B4-BE49-F238E27FC236}">
                  <a16:creationId xmlns:a16="http://schemas.microsoft.com/office/drawing/2014/main" id="{D1680D6F-8E4D-4546-9F14-F5796942ED7B}"/>
                </a:ext>
              </a:extLst>
            </p:cNvPr>
            <p:cNvSpPr/>
            <p:nvPr/>
          </p:nvSpPr>
          <p:spPr>
            <a:xfrm>
              <a:off x="611560" y="2708920"/>
              <a:ext cx="1728192" cy="379785"/>
            </a:xfrm>
            <a:prstGeom prst="roundRect">
              <a:avLst>
                <a:gd name="adj" fmla="val 50000"/>
              </a:avLst>
            </a:pr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a:p>
          </p:txBody>
        </p:sp>
        <p:sp>
          <p:nvSpPr>
            <p:cNvPr id="47" name="TextBox 32">
              <a:extLst>
                <a:ext uri="{FF2B5EF4-FFF2-40B4-BE49-F238E27FC236}">
                  <a16:creationId xmlns:a16="http://schemas.microsoft.com/office/drawing/2014/main" id="{90C95E8F-99AD-487F-AF09-FCA17A31A7D2}"/>
                </a:ext>
              </a:extLst>
            </p:cNvPr>
            <p:cNvSpPr txBox="1"/>
            <p:nvPr/>
          </p:nvSpPr>
          <p:spPr>
            <a:xfrm>
              <a:off x="539552" y="3193812"/>
              <a:ext cx="1872208"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US" altLang="ko-KR" sz="1200">
                  <a:solidFill>
                    <a:schemeClr val="tx1">
                      <a:lumMod val="75000"/>
                      <a:lumOff val="25000"/>
                    </a:schemeClr>
                  </a:solidFill>
                  <a:cs typeface="Arial" pitchFamily="34" charset="0"/>
                </a:rPr>
                <a:t>System initially snail speed due to use of </a:t>
              </a:r>
              <a:r>
                <a:rPr lang="en-US" altLang="ko-KR" sz="1200" err="1">
                  <a:solidFill>
                    <a:schemeClr val="tx1">
                      <a:lumMod val="75000"/>
                      <a:lumOff val="25000"/>
                    </a:schemeClr>
                  </a:solidFill>
                  <a:cs typeface="Arial" pitchFamily="34" charset="0"/>
                </a:rPr>
                <a:t>sympy</a:t>
              </a:r>
              <a:r>
                <a:rPr lang="en-US" altLang="ko-KR" sz="1200">
                  <a:solidFill>
                    <a:schemeClr val="tx1">
                      <a:lumMod val="75000"/>
                      <a:lumOff val="25000"/>
                    </a:schemeClr>
                  </a:solidFill>
                  <a:cs typeface="Arial" pitchFamily="34" charset="0"/>
                </a:rPr>
                <a:t> equation solvers</a:t>
              </a:r>
            </a:p>
            <a:p>
              <a:pPr marL="171450" indent="-171450">
                <a:buFont typeface="Arial" panose="020B0604020202020204" pitchFamily="34" charset="0"/>
                <a:buChar char="•"/>
              </a:pPr>
              <a:r>
                <a:rPr lang="en-US" altLang="ko-KR" sz="1200">
                  <a:solidFill>
                    <a:schemeClr val="tx1">
                      <a:lumMod val="75000"/>
                      <a:lumOff val="25000"/>
                    </a:schemeClr>
                  </a:solidFill>
                  <a:cs typeface="Arial" pitchFamily="34" charset="0"/>
                </a:rPr>
                <a:t>Remove calculation time, replace with minimal data read-in </a:t>
              </a:r>
            </a:p>
          </p:txBody>
        </p:sp>
        <p:sp>
          <p:nvSpPr>
            <p:cNvPr id="49" name="TextBox 33">
              <a:extLst>
                <a:ext uri="{FF2B5EF4-FFF2-40B4-BE49-F238E27FC236}">
                  <a16:creationId xmlns:a16="http://schemas.microsoft.com/office/drawing/2014/main" id="{EA797053-3AC5-4A12-AAF2-D2FFEBE033D1}"/>
                </a:ext>
              </a:extLst>
            </p:cNvPr>
            <p:cNvSpPr txBox="1"/>
            <p:nvPr/>
          </p:nvSpPr>
          <p:spPr>
            <a:xfrm>
              <a:off x="665833" y="2744923"/>
              <a:ext cx="1619647"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ko-KR" sz="1400" b="1">
                  <a:solidFill>
                    <a:schemeClr val="bg1"/>
                  </a:solidFill>
                  <a:cs typeface="Arial" pitchFamily="34" charset="0"/>
                </a:rPr>
                <a:t>Lookup Table</a:t>
              </a:r>
              <a:endParaRPr lang="ko-KR" altLang="en-US" sz="1400" b="1">
                <a:solidFill>
                  <a:schemeClr val="bg1"/>
                </a:solidFill>
                <a:cs typeface="Arial" pitchFamily="34" charset="0"/>
              </a:endParaRPr>
            </a:p>
          </p:txBody>
        </p:sp>
      </p:grpSp>
      <p:grpSp>
        <p:nvGrpSpPr>
          <p:cNvPr id="50" name="Group 49">
            <a:extLst>
              <a:ext uri="{FF2B5EF4-FFF2-40B4-BE49-F238E27FC236}">
                <a16:creationId xmlns:a16="http://schemas.microsoft.com/office/drawing/2014/main" id="{9F1B88FE-C28E-4F53-91BA-147C21BF3BE7}"/>
              </a:ext>
            </a:extLst>
          </p:cNvPr>
          <p:cNvGrpSpPr/>
          <p:nvPr/>
        </p:nvGrpSpPr>
        <p:grpSpPr>
          <a:xfrm>
            <a:off x="841735" y="1768835"/>
            <a:ext cx="2772000" cy="946557"/>
            <a:chOff x="539552" y="2708920"/>
            <a:chExt cx="1872208" cy="946557"/>
          </a:xfrm>
        </p:grpSpPr>
        <p:sp>
          <p:nvSpPr>
            <p:cNvPr id="51" name="Rounded Rectangle 105">
              <a:extLst>
                <a:ext uri="{FF2B5EF4-FFF2-40B4-BE49-F238E27FC236}">
                  <a16:creationId xmlns:a16="http://schemas.microsoft.com/office/drawing/2014/main" id="{6D47D1BF-1CB1-4879-A73B-35928D91AE62}"/>
                </a:ext>
              </a:extLst>
            </p:cNvPr>
            <p:cNvSpPr/>
            <p:nvPr/>
          </p:nvSpPr>
          <p:spPr>
            <a:xfrm>
              <a:off x="611560" y="2708920"/>
              <a:ext cx="1728192" cy="379785"/>
            </a:xfrm>
            <a:prstGeom prst="roundRect">
              <a:avLst>
                <a:gd name="adj" fmla="val 50000"/>
              </a:avLst>
            </a:prstGeom>
            <a:solidFill>
              <a:schemeClr val="accent3"/>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ko-KR" altLang="en-US"/>
            </a:p>
          </p:txBody>
        </p:sp>
        <p:sp>
          <p:nvSpPr>
            <p:cNvPr id="53" name="TextBox 36">
              <a:extLst>
                <a:ext uri="{FF2B5EF4-FFF2-40B4-BE49-F238E27FC236}">
                  <a16:creationId xmlns:a16="http://schemas.microsoft.com/office/drawing/2014/main" id="{34E01994-5847-496A-81F4-0FC0347E40AF}"/>
                </a:ext>
              </a:extLst>
            </p:cNvPr>
            <p:cNvSpPr txBox="1"/>
            <p:nvPr/>
          </p:nvSpPr>
          <p:spPr>
            <a:xfrm>
              <a:off x="539552" y="3193812"/>
              <a:ext cx="1872208"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US" altLang="ko-KR" sz="1200">
                  <a:solidFill>
                    <a:schemeClr val="tx1">
                      <a:lumMod val="75000"/>
                      <a:lumOff val="25000"/>
                    </a:schemeClr>
                  </a:solidFill>
                  <a:ea typeface="FZShuTi" pitchFamily="2" charset="-122"/>
                  <a:cs typeface="Arial" pitchFamily="34" charset="0"/>
                </a:rPr>
                <a:t>Tuning color detection</a:t>
              </a:r>
            </a:p>
            <a:p>
              <a:pPr marL="171450" indent="-171450">
                <a:buFont typeface="Arial" panose="020B0604020202020204" pitchFamily="34" charset="0"/>
                <a:buChar char="•"/>
              </a:pPr>
              <a:r>
                <a:rPr lang="en-US" altLang="ko-KR" sz="1200">
                  <a:solidFill>
                    <a:schemeClr val="tx1">
                      <a:lumMod val="75000"/>
                      <a:lumOff val="25000"/>
                    </a:schemeClr>
                  </a:solidFill>
                  <a:ea typeface="FZShuTi" pitchFamily="2" charset="-122"/>
                  <a:cs typeface="Arial" pitchFamily="34" charset="0"/>
                </a:rPr>
                <a:t>Converted pixels to cm  </a:t>
              </a:r>
              <a:r>
                <a:rPr lang="en-US" altLang="ko-KR" sz="1200">
                  <a:solidFill>
                    <a:schemeClr val="tx1">
                      <a:lumMod val="75000"/>
                      <a:lumOff val="25000"/>
                    </a:schemeClr>
                  </a:solidFill>
                  <a:cs typeface="Arial" pitchFamily="34" charset="0"/>
                </a:rPr>
                <a:t> </a:t>
              </a:r>
            </a:p>
          </p:txBody>
        </p:sp>
        <p:sp>
          <p:nvSpPr>
            <p:cNvPr id="55" name="TextBox 37">
              <a:extLst>
                <a:ext uri="{FF2B5EF4-FFF2-40B4-BE49-F238E27FC236}">
                  <a16:creationId xmlns:a16="http://schemas.microsoft.com/office/drawing/2014/main" id="{699BD184-2757-442C-8F82-4BDACBECBF37}"/>
                </a:ext>
              </a:extLst>
            </p:cNvPr>
            <p:cNvSpPr txBox="1"/>
            <p:nvPr/>
          </p:nvSpPr>
          <p:spPr>
            <a:xfrm>
              <a:off x="665833" y="2744923"/>
              <a:ext cx="1619647"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ko-KR" sz="1400" b="1">
                  <a:solidFill>
                    <a:schemeClr val="bg1"/>
                  </a:solidFill>
                  <a:cs typeface="Arial" pitchFamily="34" charset="0"/>
                </a:rPr>
                <a:t>CV</a:t>
              </a:r>
              <a:endParaRPr lang="ko-KR" altLang="en-US" sz="1400" b="1">
                <a:solidFill>
                  <a:schemeClr val="bg1"/>
                </a:solidFill>
                <a:cs typeface="Arial" pitchFamily="34" charset="0"/>
              </a:endParaRPr>
            </a:p>
          </p:txBody>
        </p:sp>
      </p:grpSp>
      <p:pic>
        <p:nvPicPr>
          <p:cNvPr id="59" name="Graphic 58" descr="Web cam outline">
            <a:extLst>
              <a:ext uri="{FF2B5EF4-FFF2-40B4-BE49-F238E27FC236}">
                <a16:creationId xmlns:a16="http://schemas.microsoft.com/office/drawing/2014/main" id="{94F994FB-E9AD-2248-19C2-2C74194A29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40940" y="1891308"/>
            <a:ext cx="600702" cy="600702"/>
          </a:xfrm>
          <a:prstGeom prst="rect">
            <a:avLst/>
          </a:prstGeom>
        </p:spPr>
      </p:pic>
      <p:pic>
        <p:nvPicPr>
          <p:cNvPr id="62" name="Graphic 61" descr="Ghost outline">
            <a:extLst>
              <a:ext uri="{FF2B5EF4-FFF2-40B4-BE49-F238E27FC236}">
                <a16:creationId xmlns:a16="http://schemas.microsoft.com/office/drawing/2014/main" id="{852A5FEE-213F-4BA1-BF81-EC1994713EB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77028" y="1713158"/>
            <a:ext cx="591103" cy="591103"/>
          </a:xfrm>
          <a:prstGeom prst="rect">
            <a:avLst/>
          </a:prstGeom>
        </p:spPr>
      </p:pic>
      <p:pic>
        <p:nvPicPr>
          <p:cNvPr id="70" name="Graphic 69" descr="Table outline">
            <a:extLst>
              <a:ext uri="{FF2B5EF4-FFF2-40B4-BE49-F238E27FC236}">
                <a16:creationId xmlns:a16="http://schemas.microsoft.com/office/drawing/2014/main" id="{5E76C591-717B-30B3-6047-CB4A0B70F25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75269" y="4439998"/>
            <a:ext cx="914400" cy="914400"/>
          </a:xfrm>
          <a:prstGeom prst="rect">
            <a:avLst/>
          </a:prstGeom>
        </p:spPr>
      </p:pic>
      <p:pic>
        <p:nvPicPr>
          <p:cNvPr id="3" name="Graphic 2" descr="Work from home Wi-Fi outline">
            <a:extLst>
              <a:ext uri="{FF2B5EF4-FFF2-40B4-BE49-F238E27FC236}">
                <a16:creationId xmlns:a16="http://schemas.microsoft.com/office/drawing/2014/main" id="{9FBC0781-7FC9-77C2-4D93-56976E97070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00814" y="4296861"/>
            <a:ext cx="673662" cy="673662"/>
          </a:xfrm>
          <a:prstGeom prst="rect">
            <a:avLst/>
          </a:prstGeom>
        </p:spPr>
      </p:pic>
    </p:spTree>
    <p:extLst>
      <p:ext uri="{BB962C8B-B14F-4D97-AF65-F5344CB8AC3E}">
        <p14:creationId xmlns:p14="http://schemas.microsoft.com/office/powerpoint/2010/main" val="9946112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64A83A-55A0-5A82-48E3-AC5892F7EF62}"/>
              </a:ext>
            </a:extLst>
          </p:cNvPr>
          <p:cNvSpPr>
            <a:spLocks noGrp="1"/>
          </p:cNvSpPr>
          <p:nvPr>
            <p:ph type="title"/>
          </p:nvPr>
        </p:nvSpPr>
        <p:spPr/>
        <p:txBody>
          <a:bodyPr/>
          <a:lstStyle/>
          <a:p>
            <a:r>
              <a:rPr lang="en-US"/>
              <a:t>Controller Development</a:t>
            </a:r>
            <a:endParaRPr lang="en-CA"/>
          </a:p>
        </p:txBody>
      </p:sp>
      <p:sp>
        <p:nvSpPr>
          <p:cNvPr id="3" name="Content Placeholder 2">
            <a:extLst>
              <a:ext uri="{FF2B5EF4-FFF2-40B4-BE49-F238E27FC236}">
                <a16:creationId xmlns:a16="http://schemas.microsoft.com/office/drawing/2014/main" id="{B322C162-A73E-E6E1-F690-1E235B33E0F8}"/>
              </a:ext>
            </a:extLst>
          </p:cNvPr>
          <p:cNvSpPr>
            <a:spLocks noGrp="1"/>
          </p:cNvSpPr>
          <p:nvPr>
            <p:ph idx="1"/>
          </p:nvPr>
        </p:nvSpPr>
        <p:spPr>
          <a:xfrm>
            <a:off x="518319" y="864109"/>
            <a:ext cx="6542881" cy="2642786"/>
          </a:xfrm>
        </p:spPr>
        <p:txBody>
          <a:bodyPr/>
          <a:lstStyle/>
          <a:p>
            <a:pPr marL="285750" indent="-285750">
              <a:buFont typeface="Arial" panose="020B0604020202020204" pitchFamily="34" charset="0"/>
              <a:buChar char="•"/>
            </a:pPr>
            <a:r>
              <a:rPr lang="en-US" sz="1800" dirty="0"/>
              <a:t>Initially, used kinematic equations to determine motor angles</a:t>
            </a:r>
          </a:p>
          <a:p>
            <a:pPr lvl="2"/>
            <a:r>
              <a:rPr lang="en-US" sz="1600" dirty="0"/>
              <a:t>Poor control over steepness of platform</a:t>
            </a:r>
          </a:p>
          <a:p>
            <a:pPr lvl="2"/>
            <a:r>
              <a:rPr lang="en-US" sz="1600" dirty="0"/>
              <a:t>Unable to account for momentum of ball</a:t>
            </a:r>
          </a:p>
          <a:p>
            <a:pPr marL="285750" indent="-285750">
              <a:buFont typeface="Arial" panose="020B0604020202020204" pitchFamily="34" charset="0"/>
              <a:buChar char="•"/>
            </a:pPr>
            <a:r>
              <a:rPr lang="en-US" sz="1800" dirty="0"/>
              <a:t>Moved to PID controller</a:t>
            </a:r>
          </a:p>
          <a:p>
            <a:pPr lvl="2"/>
            <a:r>
              <a:rPr lang="en-US" sz="1600" dirty="0"/>
              <a:t>Error in x and y are input</a:t>
            </a:r>
          </a:p>
          <a:p>
            <a:pPr lvl="2"/>
            <a:r>
              <a:rPr lang="en-US" sz="1600" dirty="0"/>
              <a:t>Angle along x-z and y-z plane were output</a:t>
            </a:r>
          </a:p>
          <a:p>
            <a:pPr lvl="2"/>
            <a:r>
              <a:rPr lang="en-US" sz="1600" dirty="0"/>
              <a:t>Extremely sensitive to controller parameters</a:t>
            </a:r>
          </a:p>
          <a:p>
            <a:pPr lvl="2"/>
            <a:r>
              <a:rPr lang="en-US" sz="1600" dirty="0"/>
              <a:t>Required multiple tuning attempts</a:t>
            </a:r>
          </a:p>
        </p:txBody>
      </p:sp>
      <p:pic>
        <p:nvPicPr>
          <p:cNvPr id="5" name="Picture 4" descr="A diagram of a mathematical system&#10;&#10;Description automatically generated">
            <a:extLst>
              <a:ext uri="{FF2B5EF4-FFF2-40B4-BE49-F238E27FC236}">
                <a16:creationId xmlns:a16="http://schemas.microsoft.com/office/drawing/2014/main" id="{0D7AAED2-A826-CEDD-4FBA-AF4F98D645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42060" y="3699933"/>
            <a:ext cx="6707880" cy="2788561"/>
          </a:xfrm>
          <a:prstGeom prst="rect">
            <a:avLst/>
          </a:prstGeom>
        </p:spPr>
      </p:pic>
      <p:sp>
        <p:nvSpPr>
          <p:cNvPr id="6" name="TextBox 5">
            <a:extLst>
              <a:ext uri="{FF2B5EF4-FFF2-40B4-BE49-F238E27FC236}">
                <a16:creationId xmlns:a16="http://schemas.microsoft.com/office/drawing/2014/main" id="{0E88ED28-9CC7-39EC-1C3E-0A962D586DF4}"/>
              </a:ext>
            </a:extLst>
          </p:cNvPr>
          <p:cNvSpPr txBox="1"/>
          <p:nvPr/>
        </p:nvSpPr>
        <p:spPr>
          <a:xfrm>
            <a:off x="4148026" y="6488494"/>
            <a:ext cx="6757682" cy="261610"/>
          </a:xfrm>
          <a:prstGeom prst="rect">
            <a:avLst/>
          </a:prstGeom>
          <a:noFill/>
        </p:spPr>
        <p:txBody>
          <a:bodyPr wrap="square">
            <a:spAutoFit/>
          </a:bodyPr>
          <a:lstStyle/>
          <a:p>
            <a:r>
              <a:rPr lang="en-CA" sz="1100">
                <a:hlinkClick r:id="rId4"/>
              </a:rPr>
              <a:t>https://www.thorlabs.com/newgrouppage9.cfm?objectgroup_id=9013</a:t>
            </a:r>
            <a:endParaRPr lang="en-CA" sz="1100"/>
          </a:p>
        </p:txBody>
      </p:sp>
    </p:spTree>
    <p:extLst>
      <p:ext uri="{BB962C8B-B14F-4D97-AF65-F5344CB8AC3E}">
        <p14:creationId xmlns:p14="http://schemas.microsoft.com/office/powerpoint/2010/main" val="24502813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a:extLst>
              <a:ext uri="{FF2B5EF4-FFF2-40B4-BE49-F238E27FC236}">
                <a16:creationId xmlns:a16="http://schemas.microsoft.com/office/drawing/2014/main" id="{E5A49078-45CF-B42C-3AF5-8FD571E4B6EF}"/>
              </a:ext>
            </a:extLst>
          </p:cNvPr>
          <p:cNvGraphicFramePr/>
          <p:nvPr>
            <p:extLst>
              <p:ext uri="{D42A27DB-BD31-4B8C-83A1-F6EECF244321}">
                <p14:modId xmlns:p14="http://schemas.microsoft.com/office/powerpoint/2010/main" val="1691989073"/>
              </p:ext>
            </p:extLst>
          </p:nvPr>
        </p:nvGraphicFramePr>
        <p:xfrm>
          <a:off x="1607202" y="719665"/>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EED61648-244F-3F16-B0F9-F36D4C904C71}"/>
              </a:ext>
            </a:extLst>
          </p:cNvPr>
          <p:cNvSpPr>
            <a:spLocks noGrp="1"/>
          </p:cNvSpPr>
          <p:nvPr>
            <p:ph type="title"/>
          </p:nvPr>
        </p:nvSpPr>
        <p:spPr/>
        <p:txBody>
          <a:bodyPr/>
          <a:lstStyle/>
          <a:p>
            <a:r>
              <a:rPr lang="en-US"/>
              <a:t>Control Cycle</a:t>
            </a:r>
            <a:endParaRPr lang="en-CA"/>
          </a:p>
        </p:txBody>
      </p:sp>
      <p:pic>
        <p:nvPicPr>
          <p:cNvPr id="5" name="Graphic 4" descr="Camera outline">
            <a:extLst>
              <a:ext uri="{FF2B5EF4-FFF2-40B4-BE49-F238E27FC236}">
                <a16:creationId xmlns:a16="http://schemas.microsoft.com/office/drawing/2014/main" id="{2BAFE8BA-61B7-96B4-FC30-B0AF3860FE1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07369" y="975891"/>
            <a:ext cx="914400" cy="914400"/>
          </a:xfrm>
          <a:prstGeom prst="rect">
            <a:avLst/>
          </a:prstGeom>
        </p:spPr>
      </p:pic>
      <p:pic>
        <p:nvPicPr>
          <p:cNvPr id="7" name="Graphic 6" descr="Images with solid fill">
            <a:extLst>
              <a:ext uri="{FF2B5EF4-FFF2-40B4-BE49-F238E27FC236}">
                <a16:creationId xmlns:a16="http://schemas.microsoft.com/office/drawing/2014/main" id="{C794FB3D-23A6-CD49-0F35-903BA8D4B33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565093" y="2501062"/>
            <a:ext cx="914400" cy="914400"/>
          </a:xfrm>
          <a:prstGeom prst="rect">
            <a:avLst/>
          </a:prstGeom>
        </p:spPr>
      </p:pic>
      <p:pic>
        <p:nvPicPr>
          <p:cNvPr id="9" name="Graphic 8" descr="Basic Shapes with solid fill">
            <a:extLst>
              <a:ext uri="{FF2B5EF4-FFF2-40B4-BE49-F238E27FC236}">
                <a16:creationId xmlns:a16="http://schemas.microsoft.com/office/drawing/2014/main" id="{5E852B05-7424-A805-670C-31BDC5918D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650693" y="4868631"/>
            <a:ext cx="914400" cy="914400"/>
          </a:xfrm>
          <a:prstGeom prst="rect">
            <a:avLst/>
          </a:prstGeom>
        </p:spPr>
      </p:pic>
      <p:pic>
        <p:nvPicPr>
          <p:cNvPr id="11" name="Graphic 10" descr="Cmd Terminal with solid fill">
            <a:extLst>
              <a:ext uri="{FF2B5EF4-FFF2-40B4-BE49-F238E27FC236}">
                <a16:creationId xmlns:a16="http://schemas.microsoft.com/office/drawing/2014/main" id="{0A9D022C-D223-5A58-8057-71268DC357E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896569" y="2514600"/>
            <a:ext cx="914400" cy="914400"/>
          </a:xfrm>
          <a:prstGeom prst="rect">
            <a:avLst/>
          </a:prstGeom>
        </p:spPr>
      </p:pic>
      <p:pic>
        <p:nvPicPr>
          <p:cNvPr id="14" name="Graphic 13" descr="Table with solid fill">
            <a:extLst>
              <a:ext uri="{FF2B5EF4-FFF2-40B4-BE49-F238E27FC236}">
                <a16:creationId xmlns:a16="http://schemas.microsoft.com/office/drawing/2014/main" id="{6F812467-BEB1-19C2-B316-B8FE6880B40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728263" y="4868631"/>
            <a:ext cx="914400" cy="914400"/>
          </a:xfrm>
          <a:prstGeom prst="rect">
            <a:avLst/>
          </a:prstGeom>
        </p:spPr>
      </p:pic>
    </p:spTree>
    <p:extLst>
      <p:ext uri="{BB962C8B-B14F-4D97-AF65-F5344CB8AC3E}">
        <p14:creationId xmlns:p14="http://schemas.microsoft.com/office/powerpoint/2010/main" val="1604018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12" name="Gerader Verbinder 811">
            <a:extLst>
              <a:ext uri="{FF2B5EF4-FFF2-40B4-BE49-F238E27FC236}">
                <a16:creationId xmlns:a16="http://schemas.microsoft.com/office/drawing/2014/main" id="{5B349650-2AE2-F4E8-F5A4-F1E5E7E25BCE}"/>
              </a:ext>
            </a:extLst>
          </p:cNvPr>
          <p:cNvCxnSpPr/>
          <p:nvPr>
            <p:custDataLst>
              <p:tags r:id="rId2"/>
            </p:custDataLst>
          </p:nvPr>
        </p:nvCxnSpPr>
        <p:spPr>
          <a:xfrm>
            <a:off x="518319" y="4514953"/>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811" name="Gerader Verbinder 810">
            <a:extLst>
              <a:ext uri="{FF2B5EF4-FFF2-40B4-BE49-F238E27FC236}">
                <a16:creationId xmlns:a16="http://schemas.microsoft.com/office/drawing/2014/main" id="{A1EE4017-5796-DF79-4A42-FEBA504B631E}"/>
              </a:ext>
            </a:extLst>
          </p:cNvPr>
          <p:cNvCxnSpPr/>
          <p:nvPr>
            <p:custDataLst>
              <p:tags r:id="rId3"/>
            </p:custDataLst>
          </p:nvPr>
        </p:nvCxnSpPr>
        <p:spPr>
          <a:xfrm>
            <a:off x="518319" y="5240401"/>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10" name="Rechteck 809">
            <a:hlinkClick r:id="" action="ppaction://noaction"/>
            <a:extLst>
              <a:ext uri="{FF2B5EF4-FFF2-40B4-BE49-F238E27FC236}">
                <a16:creationId xmlns:a16="http://schemas.microsoft.com/office/drawing/2014/main" id="{2CBA4727-7EFA-E68D-392F-D8E68EE9DE2E}"/>
              </a:ext>
            </a:extLst>
          </p:cNvPr>
          <p:cNvSpPr/>
          <p:nvPr>
            <p:custDataLst>
              <p:tags r:id="rId4"/>
            </p:custDataLst>
          </p:nvPr>
        </p:nvSpPr>
        <p:spPr>
          <a:xfrm>
            <a:off x="1287032" y="4600678"/>
            <a:ext cx="210314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r>
              <a:rPr lang="de-DE">
                <a:solidFill>
                  <a:schemeClr val="tx1"/>
                </a:solidFill>
              </a:rPr>
              <a:t>Lessons Learned</a:t>
            </a:r>
          </a:p>
        </p:txBody>
      </p:sp>
      <p:sp>
        <p:nvSpPr>
          <p:cNvPr id="809" name="Rechteck 808">
            <a:hlinkClick r:id="" action="ppaction://noaction"/>
            <a:extLst>
              <a:ext uri="{FF2B5EF4-FFF2-40B4-BE49-F238E27FC236}">
                <a16:creationId xmlns:a16="http://schemas.microsoft.com/office/drawing/2014/main" id="{DA767B6C-2140-5073-B2EA-5C9DEEFCA576}"/>
              </a:ext>
            </a:extLst>
          </p:cNvPr>
          <p:cNvSpPr/>
          <p:nvPr>
            <p:custDataLst>
              <p:tags r:id="rId5"/>
            </p:custDataLst>
          </p:nvPr>
        </p:nvSpPr>
        <p:spPr>
          <a:xfrm>
            <a:off x="518319" y="4600678"/>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a:ln>
                  <a:noFill/>
                </a:ln>
                <a:solidFill>
                  <a:srgbClr val="000000"/>
                </a:solidFill>
                <a:effectLst/>
                <a:uLnTx/>
                <a:uFillTx/>
                <a:ea typeface="+mn-ea"/>
                <a:cs typeface="+mn-cs"/>
              </a:rPr>
              <a:t>5</a:t>
            </a:r>
          </a:p>
        </p:txBody>
      </p:sp>
      <p:cxnSp>
        <p:nvCxnSpPr>
          <p:cNvPr id="808" name="Gerader Verbinder 807">
            <a:extLst>
              <a:ext uri="{FF2B5EF4-FFF2-40B4-BE49-F238E27FC236}">
                <a16:creationId xmlns:a16="http://schemas.microsoft.com/office/drawing/2014/main" id="{E8FF3167-FBB0-7683-AD2C-2E9183667179}"/>
              </a:ext>
            </a:extLst>
          </p:cNvPr>
          <p:cNvCxnSpPr/>
          <p:nvPr>
            <p:custDataLst>
              <p:tags r:id="rId6"/>
            </p:custDataLst>
          </p:nvPr>
        </p:nvCxnSpPr>
        <p:spPr>
          <a:xfrm>
            <a:off x="518319" y="3789506"/>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07" name="Rechteck 806">
            <a:hlinkClick r:id="" action="ppaction://noaction"/>
            <a:extLst>
              <a:ext uri="{FF2B5EF4-FFF2-40B4-BE49-F238E27FC236}">
                <a16:creationId xmlns:a16="http://schemas.microsoft.com/office/drawing/2014/main" id="{6B17833B-654D-8F9D-D27D-998975499230}"/>
              </a:ext>
            </a:extLst>
          </p:cNvPr>
          <p:cNvSpPr/>
          <p:nvPr>
            <p:custDataLst>
              <p:tags r:id="rId7"/>
            </p:custDataLst>
          </p:nvPr>
        </p:nvSpPr>
        <p:spPr>
          <a:xfrm>
            <a:off x="1287032" y="3875231"/>
            <a:ext cx="2103140"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r>
              <a:rPr lang="de-DE">
                <a:solidFill>
                  <a:schemeClr val="tx1"/>
                </a:solidFill>
              </a:rPr>
              <a:t>Software Design and Iterations</a:t>
            </a:r>
          </a:p>
        </p:txBody>
      </p:sp>
      <p:sp>
        <p:nvSpPr>
          <p:cNvPr id="806" name="Rechteck 805">
            <a:hlinkClick r:id="" action="ppaction://noaction"/>
            <a:extLst>
              <a:ext uri="{FF2B5EF4-FFF2-40B4-BE49-F238E27FC236}">
                <a16:creationId xmlns:a16="http://schemas.microsoft.com/office/drawing/2014/main" id="{E867D275-53C9-E015-5806-61F9A9E3466D}"/>
              </a:ext>
            </a:extLst>
          </p:cNvPr>
          <p:cNvSpPr/>
          <p:nvPr>
            <p:custDataLst>
              <p:tags r:id="rId8"/>
            </p:custDataLst>
          </p:nvPr>
        </p:nvSpPr>
        <p:spPr>
          <a:xfrm>
            <a:off x="518319" y="3875231"/>
            <a:ext cx="583200"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a:ln>
                  <a:noFill/>
                </a:ln>
                <a:solidFill>
                  <a:srgbClr val="000000"/>
                </a:solidFill>
                <a:effectLst/>
                <a:uLnTx/>
                <a:uFillTx/>
                <a:ea typeface="+mn-ea"/>
                <a:cs typeface="+mn-cs"/>
              </a:rPr>
              <a:t>4</a:t>
            </a:r>
          </a:p>
        </p:txBody>
      </p:sp>
      <p:cxnSp>
        <p:nvCxnSpPr>
          <p:cNvPr id="805" name="Gerader Verbinder 804">
            <a:extLst>
              <a:ext uri="{FF2B5EF4-FFF2-40B4-BE49-F238E27FC236}">
                <a16:creationId xmlns:a16="http://schemas.microsoft.com/office/drawing/2014/main" id="{F176223A-1A49-5B62-540A-4930CCC588D5}"/>
              </a:ext>
            </a:extLst>
          </p:cNvPr>
          <p:cNvCxnSpPr/>
          <p:nvPr>
            <p:custDataLst>
              <p:tags r:id="rId9"/>
            </p:custDataLst>
          </p:nvPr>
        </p:nvCxnSpPr>
        <p:spPr>
          <a:xfrm>
            <a:off x="518319" y="3064058"/>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04" name="Rechteck 803">
            <a:hlinkClick r:id="rId21" action="ppaction://hlinksldjump"/>
            <a:extLst>
              <a:ext uri="{FF2B5EF4-FFF2-40B4-BE49-F238E27FC236}">
                <a16:creationId xmlns:a16="http://schemas.microsoft.com/office/drawing/2014/main" id="{C1A38F07-47D0-7F74-2B4C-CA6A7F73BD5E}"/>
              </a:ext>
            </a:extLst>
          </p:cNvPr>
          <p:cNvSpPr/>
          <p:nvPr>
            <p:custDataLst>
              <p:tags r:id="rId10"/>
            </p:custDataLst>
          </p:nvPr>
        </p:nvSpPr>
        <p:spPr>
          <a:xfrm>
            <a:off x="1287032" y="3149783"/>
            <a:ext cx="210314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r>
              <a:rPr lang="de-DE">
                <a:solidFill>
                  <a:schemeClr val="tx1"/>
                </a:solidFill>
              </a:rPr>
              <a:t>Mechanical and Electrical Design and Iterrations</a:t>
            </a:r>
          </a:p>
        </p:txBody>
      </p:sp>
      <p:sp>
        <p:nvSpPr>
          <p:cNvPr id="803" name="Rechteck 802">
            <a:hlinkClick r:id="rId21" action="ppaction://hlinksldjump"/>
            <a:extLst>
              <a:ext uri="{FF2B5EF4-FFF2-40B4-BE49-F238E27FC236}">
                <a16:creationId xmlns:a16="http://schemas.microsoft.com/office/drawing/2014/main" id="{C03FE7D6-1184-6EFE-D49C-EB2463E02FA7}"/>
              </a:ext>
            </a:extLst>
          </p:cNvPr>
          <p:cNvSpPr/>
          <p:nvPr>
            <p:custDataLst>
              <p:tags r:id="rId11"/>
            </p:custDataLst>
          </p:nvPr>
        </p:nvSpPr>
        <p:spPr>
          <a:xfrm>
            <a:off x="518319" y="3149783"/>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a:ln>
                  <a:noFill/>
                </a:ln>
                <a:solidFill>
                  <a:srgbClr val="000000"/>
                </a:solidFill>
                <a:effectLst/>
                <a:uLnTx/>
                <a:uFillTx/>
                <a:ea typeface="+mn-ea"/>
                <a:cs typeface="+mn-cs"/>
              </a:rPr>
              <a:t>3</a:t>
            </a:r>
          </a:p>
        </p:txBody>
      </p:sp>
      <p:cxnSp>
        <p:nvCxnSpPr>
          <p:cNvPr id="802" name="Gerader Verbinder 801">
            <a:extLst>
              <a:ext uri="{FF2B5EF4-FFF2-40B4-BE49-F238E27FC236}">
                <a16:creationId xmlns:a16="http://schemas.microsoft.com/office/drawing/2014/main" id="{017E3A21-7538-4296-5896-9EFAE26298C5}"/>
              </a:ext>
            </a:extLst>
          </p:cNvPr>
          <p:cNvCxnSpPr/>
          <p:nvPr>
            <p:custDataLst>
              <p:tags r:id="rId12"/>
            </p:custDataLst>
          </p:nvPr>
        </p:nvCxnSpPr>
        <p:spPr>
          <a:xfrm>
            <a:off x="518319" y="2338610"/>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01" name="Rechteck 800">
            <a:hlinkClick r:id="rId22" action="ppaction://hlinksldjump"/>
            <a:extLst>
              <a:ext uri="{FF2B5EF4-FFF2-40B4-BE49-F238E27FC236}">
                <a16:creationId xmlns:a16="http://schemas.microsoft.com/office/drawing/2014/main" id="{F82AA610-2B09-5601-C3A3-5B8B2E5F35C5}"/>
              </a:ext>
            </a:extLst>
          </p:cNvPr>
          <p:cNvSpPr/>
          <p:nvPr>
            <p:custDataLst>
              <p:tags r:id="rId13"/>
            </p:custDataLst>
          </p:nvPr>
        </p:nvSpPr>
        <p:spPr>
          <a:xfrm>
            <a:off x="1287032" y="2424335"/>
            <a:ext cx="210314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r>
              <a:rPr lang="de-DE">
                <a:solidFill>
                  <a:schemeClr val="tx1"/>
                </a:solidFill>
              </a:rPr>
              <a:t>What Makes Our Platform Unique?</a:t>
            </a:r>
          </a:p>
        </p:txBody>
      </p:sp>
      <p:sp>
        <p:nvSpPr>
          <p:cNvPr id="800" name="Rechteck 799">
            <a:hlinkClick r:id="rId22" action="ppaction://hlinksldjump"/>
            <a:extLst>
              <a:ext uri="{FF2B5EF4-FFF2-40B4-BE49-F238E27FC236}">
                <a16:creationId xmlns:a16="http://schemas.microsoft.com/office/drawing/2014/main" id="{588C1549-2BF7-3FA9-FA2A-DF51750E4940}"/>
              </a:ext>
            </a:extLst>
          </p:cNvPr>
          <p:cNvSpPr/>
          <p:nvPr>
            <p:custDataLst>
              <p:tags r:id="rId14"/>
            </p:custDataLst>
          </p:nvPr>
        </p:nvSpPr>
        <p:spPr>
          <a:xfrm>
            <a:off x="518319" y="2424335"/>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a:ln>
                  <a:noFill/>
                </a:ln>
                <a:solidFill>
                  <a:srgbClr val="000000"/>
                </a:solidFill>
                <a:effectLst/>
                <a:uLnTx/>
                <a:uFillTx/>
                <a:ea typeface="+mn-ea"/>
                <a:cs typeface="+mn-cs"/>
              </a:rPr>
              <a:t>2</a:t>
            </a:r>
          </a:p>
        </p:txBody>
      </p:sp>
      <p:sp>
        <p:nvSpPr>
          <p:cNvPr id="799" name="Rechteck 798">
            <a:extLst>
              <a:ext uri="{FF2B5EF4-FFF2-40B4-BE49-F238E27FC236}">
                <a16:creationId xmlns:a16="http://schemas.microsoft.com/office/drawing/2014/main" id="{E719E103-5F12-0EF7-1AD5-2C3BB4A5F8E5}"/>
              </a:ext>
            </a:extLst>
          </p:cNvPr>
          <p:cNvSpPr/>
          <p:nvPr>
            <p:custDataLst>
              <p:tags r:id="rId15"/>
            </p:custDataLst>
          </p:nvPr>
        </p:nvSpPr>
        <p:spPr>
          <a:xfrm>
            <a:off x="0" y="1613162"/>
            <a:ext cx="12192000" cy="7413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endParaRPr kumimoji="0" lang="de-DE" b="0" i="0" u="none" strike="noStrike" kern="1200" cap="none" spc="0" normalizeH="0" baseline="0" noProof="0">
              <a:ln>
                <a:noFill/>
              </a:ln>
              <a:solidFill>
                <a:schemeClr val="tx1"/>
              </a:solidFill>
              <a:effectLst/>
              <a:uLnTx/>
              <a:uFillTx/>
              <a:ea typeface="+mn-ea"/>
              <a:cs typeface="+mn-cs"/>
            </a:endParaRPr>
          </a:p>
        </p:txBody>
      </p:sp>
      <p:sp>
        <p:nvSpPr>
          <p:cNvPr id="798" name="Rechteck 797">
            <a:hlinkClick r:id="rId23" action="ppaction://hlinksldjump"/>
            <a:extLst>
              <a:ext uri="{FF2B5EF4-FFF2-40B4-BE49-F238E27FC236}">
                <a16:creationId xmlns:a16="http://schemas.microsoft.com/office/drawing/2014/main" id="{1A2D9CAD-706A-5E36-FFFD-2822F5DA7876}"/>
              </a:ext>
            </a:extLst>
          </p:cNvPr>
          <p:cNvSpPr/>
          <p:nvPr>
            <p:custDataLst>
              <p:tags r:id="rId16"/>
            </p:custDataLst>
          </p:nvPr>
        </p:nvSpPr>
        <p:spPr>
          <a:xfrm>
            <a:off x="1287032" y="1698887"/>
            <a:ext cx="210314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r>
              <a:rPr lang="en-US">
                <a:solidFill>
                  <a:schemeClr val="tx1"/>
                </a:solidFill>
              </a:rPr>
              <a:t>Team Objectives</a:t>
            </a:r>
          </a:p>
        </p:txBody>
      </p:sp>
      <p:sp>
        <p:nvSpPr>
          <p:cNvPr id="797" name="Rechteck 796">
            <a:hlinkClick r:id="rId23" action="ppaction://hlinksldjump"/>
            <a:extLst>
              <a:ext uri="{FF2B5EF4-FFF2-40B4-BE49-F238E27FC236}">
                <a16:creationId xmlns:a16="http://schemas.microsoft.com/office/drawing/2014/main" id="{15E76851-7824-6CAE-1D75-67C77781FE81}"/>
              </a:ext>
            </a:extLst>
          </p:cNvPr>
          <p:cNvSpPr/>
          <p:nvPr>
            <p:custDataLst>
              <p:tags r:id="rId17"/>
            </p:custDataLst>
          </p:nvPr>
        </p:nvSpPr>
        <p:spPr>
          <a:xfrm>
            <a:off x="518319" y="1698887"/>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lang="de-DE" sz="3600" b="1">
                <a:solidFill>
                  <a:schemeClr val="tx1"/>
                </a:solidFill>
              </a:rPr>
              <a:t>1</a:t>
            </a:r>
            <a:endParaRPr kumimoji="0" lang="de-DE" sz="3600" b="1" i="0" u="none" strike="noStrike" kern="1200" cap="none" spc="0" normalizeH="0" baseline="0" noProof="0">
              <a:ln>
                <a:noFill/>
              </a:ln>
              <a:solidFill>
                <a:schemeClr val="tx1"/>
              </a:solidFill>
              <a:effectLst/>
              <a:uLnTx/>
              <a:uFillTx/>
              <a:ea typeface="+mn-ea"/>
              <a:cs typeface="+mn-cs"/>
            </a:endParaRPr>
          </a:p>
        </p:txBody>
      </p:sp>
      <p:sp>
        <p:nvSpPr>
          <p:cNvPr id="747" name="Titel 746">
            <a:extLst>
              <a:ext uri="{FF2B5EF4-FFF2-40B4-BE49-F238E27FC236}">
                <a16:creationId xmlns:a16="http://schemas.microsoft.com/office/drawing/2014/main" id="{A2EA4E2B-D206-6BCC-1204-DED4B39825C8}"/>
              </a:ext>
            </a:extLst>
          </p:cNvPr>
          <p:cNvSpPr>
            <a:spLocks noGrp="1"/>
          </p:cNvSpPr>
          <p:nvPr>
            <p:ph type="title"/>
            <p:custDataLst>
              <p:tags r:id="rId18"/>
            </p:custDataLst>
          </p:nvPr>
        </p:nvSpPr>
        <p:spPr/>
        <p:txBody>
          <a:bodyPr/>
          <a:lstStyle/>
          <a:p>
            <a:r>
              <a:rPr lang="de-DE"/>
              <a:t>Agenda</a:t>
            </a:r>
          </a:p>
        </p:txBody>
      </p:sp>
      <p:sp>
        <p:nvSpPr>
          <p:cNvPr id="27" name="Foliennummernplatzhalter 26">
            <a:extLst>
              <a:ext uri="{FF2B5EF4-FFF2-40B4-BE49-F238E27FC236}">
                <a16:creationId xmlns:a16="http://schemas.microsoft.com/office/drawing/2014/main" id="{90020BF2-9CA2-6D75-6CE7-45F18A5DEA4E}"/>
              </a:ext>
            </a:extLst>
          </p:cNvPr>
          <p:cNvSpPr>
            <a:spLocks noGrp="1"/>
          </p:cNvSpPr>
          <p:nvPr>
            <p:ph type="sldNum" sz="quarter" idx="44"/>
          </p:nvPr>
        </p:nvSpPr>
        <p:spPr/>
        <p:txBody>
          <a:bodyPr/>
          <a:lstStyle/>
          <a:p>
            <a:fld id="{C6A4AD45-2621-4550-9DC5-4911F1B5FA4D}" type="slidenum">
              <a:rPr lang="de-DE" smtClean="0"/>
              <a:pPr/>
              <a:t>2</a:t>
            </a:fld>
            <a:endParaRPr lang="de-DE"/>
          </a:p>
        </p:txBody>
      </p:sp>
    </p:spTree>
    <p:custDataLst>
      <p:tags r:id="rId1"/>
    </p:custDataLst>
    <p:extLst>
      <p:ext uri="{BB962C8B-B14F-4D97-AF65-F5344CB8AC3E}">
        <p14:creationId xmlns:p14="http://schemas.microsoft.com/office/powerpoint/2010/main" val="3263625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el 41">
            <a:extLst>
              <a:ext uri="{FF2B5EF4-FFF2-40B4-BE49-F238E27FC236}">
                <a16:creationId xmlns:a16="http://schemas.microsoft.com/office/drawing/2014/main" id="{C7E757C5-03D1-1F7C-8394-C9FB4BCDFB61}"/>
              </a:ext>
            </a:extLst>
          </p:cNvPr>
          <p:cNvSpPr>
            <a:spLocks noGrp="1"/>
          </p:cNvSpPr>
          <p:nvPr>
            <p:ph type="title"/>
          </p:nvPr>
        </p:nvSpPr>
        <p:spPr/>
        <p:txBody>
          <a:bodyPr/>
          <a:lstStyle/>
          <a:p>
            <a:r>
              <a:rPr lang="en-US">
                <a:cs typeface="Arial"/>
              </a:rPr>
              <a:t>Lessons Learned</a:t>
            </a:r>
            <a:endParaRPr lang="en-US"/>
          </a:p>
        </p:txBody>
      </p:sp>
      <p:sp>
        <p:nvSpPr>
          <p:cNvPr id="27" name="Foliennummernplatzhalter 26">
            <a:extLst>
              <a:ext uri="{FF2B5EF4-FFF2-40B4-BE49-F238E27FC236}">
                <a16:creationId xmlns:a16="http://schemas.microsoft.com/office/drawing/2014/main" id="{6ACF39F5-C145-B30E-6FE5-364D7828441D}"/>
              </a:ext>
            </a:extLst>
          </p:cNvPr>
          <p:cNvSpPr>
            <a:spLocks noGrp="1"/>
          </p:cNvSpPr>
          <p:nvPr>
            <p:ph type="sldNum" sz="quarter" idx="66"/>
          </p:nvPr>
        </p:nvSpPr>
        <p:spPr/>
        <p:txBody>
          <a:bodyPr/>
          <a:lstStyle/>
          <a:p>
            <a:fld id="{C6A4AD45-2621-4550-9DC5-4911F1B5FA4D}" type="slidenum">
              <a:rPr lang="de-DE" smtClean="0"/>
              <a:pPr/>
              <a:t>20</a:t>
            </a:fld>
            <a:endParaRPr lang="de-DE"/>
          </a:p>
        </p:txBody>
      </p:sp>
      <p:sp>
        <p:nvSpPr>
          <p:cNvPr id="3" name="TextBox 2">
            <a:extLst>
              <a:ext uri="{FF2B5EF4-FFF2-40B4-BE49-F238E27FC236}">
                <a16:creationId xmlns:a16="http://schemas.microsoft.com/office/drawing/2014/main" id="{5FFDAB8C-6CB3-3BEE-3ED1-AF1B9EA7FA33}"/>
              </a:ext>
            </a:extLst>
          </p:cNvPr>
          <p:cNvSpPr txBox="1"/>
          <p:nvPr/>
        </p:nvSpPr>
        <p:spPr>
          <a:xfrm>
            <a:off x="444796" y="2771302"/>
            <a:ext cx="11301984" cy="2072362"/>
          </a:xfrm>
          <a:prstGeom prst="rect">
            <a:avLst/>
          </a:prstGeom>
          <a:noFill/>
        </p:spPr>
        <p:txBody>
          <a:bodyPr wrap="square" lIns="0" tIns="0" rIns="0" bIns="0" rtlCol="0" anchor="t">
            <a:spAutoFit/>
          </a:bodyPr>
          <a:lstStyle/>
          <a:p>
            <a:pPr marL="285750" marR="0" indent="-285750" algn="l" defTabSz="914400" rtl="0" eaLnBrk="1" fontAlgn="auto" latinLnBrk="0" hangingPunct="1">
              <a:lnSpc>
                <a:spcPct val="100000"/>
              </a:lnSpc>
              <a:spcBef>
                <a:spcPts val="0"/>
              </a:spcBef>
              <a:spcAft>
                <a:spcPts val="800"/>
              </a:spcAft>
              <a:buClrTx/>
              <a:buSzTx/>
              <a:buFontTx/>
              <a:buChar char="-"/>
              <a:tabLst/>
            </a:pPr>
            <a:r>
              <a:rPr kumimoji="0" lang="en-US" b="0" i="0" u="none" strike="noStrike" kern="1200" cap="none" spc="0" normalizeH="0" baseline="0" noProof="0" dirty="0">
                <a:ln>
                  <a:noFill/>
                </a:ln>
                <a:solidFill>
                  <a:srgbClr val="000000"/>
                </a:solidFill>
                <a:effectLst/>
                <a:uLnTx/>
                <a:uFillTx/>
                <a:ea typeface="+mn-ea"/>
                <a:cs typeface="+mn-cs"/>
              </a:rPr>
              <a:t>Aidan: “</a:t>
            </a:r>
            <a:r>
              <a:rPr kumimoji="0" lang="en-US" b="0" i="1" u="none" strike="noStrike" kern="1200" cap="none" spc="0" normalizeH="0" baseline="0" noProof="0" dirty="0">
                <a:ln>
                  <a:noFill/>
                </a:ln>
                <a:solidFill>
                  <a:srgbClr val="000000"/>
                </a:solidFill>
                <a:effectLst/>
                <a:uLnTx/>
                <a:uFillTx/>
                <a:ea typeface="+mn-ea"/>
                <a:cs typeface="+mn-cs"/>
              </a:rPr>
              <a:t>Always doubt the easy path, especially if there is only one source backing it up.</a:t>
            </a:r>
            <a:r>
              <a:rPr kumimoji="0" lang="en-US" b="0" i="0" u="none" strike="noStrike" kern="1200" cap="none" spc="0" normalizeH="0" baseline="0" noProof="0" dirty="0">
                <a:ln>
                  <a:noFill/>
                </a:ln>
                <a:solidFill>
                  <a:srgbClr val="000000"/>
                </a:solidFill>
                <a:effectLst/>
                <a:uLnTx/>
                <a:uFillTx/>
                <a:ea typeface="+mn-ea"/>
                <a:cs typeface="+mn-cs"/>
              </a:rPr>
              <a:t>”</a:t>
            </a:r>
          </a:p>
          <a:p>
            <a:pPr marL="285750" indent="-285750">
              <a:spcAft>
                <a:spcPts val="800"/>
              </a:spcAft>
              <a:buFontTx/>
              <a:buChar char="-"/>
            </a:pPr>
            <a:r>
              <a:rPr lang="en-US" dirty="0">
                <a:solidFill>
                  <a:srgbClr val="000000"/>
                </a:solidFill>
              </a:rPr>
              <a:t>Luke: “</a:t>
            </a:r>
            <a:r>
              <a:rPr lang="en-US" i="1" dirty="0">
                <a:solidFill>
                  <a:srgbClr val="000000"/>
                </a:solidFill>
              </a:rPr>
              <a:t>When you have the opportunity to start sooner, do that, even when other priorities feel more urgent.</a:t>
            </a:r>
            <a:r>
              <a:rPr lang="en-US" dirty="0">
                <a:solidFill>
                  <a:srgbClr val="000000"/>
                </a:solidFill>
              </a:rPr>
              <a:t>”</a:t>
            </a:r>
          </a:p>
          <a:p>
            <a:pPr marL="285750" indent="-285750">
              <a:spcAft>
                <a:spcPts val="800"/>
              </a:spcAft>
              <a:buFontTx/>
              <a:buChar char="-"/>
            </a:pPr>
            <a:r>
              <a:rPr lang="en-US" dirty="0"/>
              <a:t>Leo: "</a:t>
            </a:r>
            <a:r>
              <a:rPr lang="en-US" i="1" dirty="0"/>
              <a:t>Do not expect to create the perfect design from the very beginning. Always be prepared for multiple design iterations.</a:t>
            </a:r>
            <a:r>
              <a:rPr lang="en-US" dirty="0"/>
              <a:t>“</a:t>
            </a:r>
          </a:p>
          <a:p>
            <a:pPr marL="285750" indent="-285750">
              <a:spcAft>
                <a:spcPts val="800"/>
              </a:spcAft>
              <a:buFontTx/>
              <a:buChar char="-"/>
            </a:pPr>
            <a:r>
              <a:rPr lang="en-US" dirty="0"/>
              <a:t>Gavin: “</a:t>
            </a:r>
            <a:r>
              <a:rPr lang="en-US" i="1" dirty="0"/>
              <a:t>Fail early and fail often.</a:t>
            </a:r>
            <a:r>
              <a:rPr lang="en-US" dirty="0"/>
              <a:t>”</a:t>
            </a:r>
          </a:p>
          <a:p>
            <a:pPr marL="285750" indent="-285750">
              <a:spcAft>
                <a:spcPts val="800"/>
              </a:spcAft>
              <a:buFontTx/>
              <a:buChar char="-"/>
            </a:pPr>
            <a:r>
              <a:rPr lang="en-US" dirty="0"/>
              <a:t>Marvin: “</a:t>
            </a:r>
            <a:r>
              <a:rPr lang="en-US" i="1" dirty="0"/>
              <a:t>Think critically, but don’t overcomplicate simple solutions.</a:t>
            </a:r>
            <a:r>
              <a:rPr lang="en-US" dirty="0"/>
              <a:t>”</a:t>
            </a:r>
          </a:p>
        </p:txBody>
      </p:sp>
      <p:sp>
        <p:nvSpPr>
          <p:cNvPr id="4" name="Textplatzhalter 3">
            <a:extLst>
              <a:ext uri="{FF2B5EF4-FFF2-40B4-BE49-F238E27FC236}">
                <a16:creationId xmlns:a16="http://schemas.microsoft.com/office/drawing/2014/main" id="{196B078E-198F-2927-0FAB-530C5668BFEF}"/>
              </a:ext>
            </a:extLst>
          </p:cNvPr>
          <p:cNvSpPr>
            <a:spLocks noGrp="1"/>
          </p:cNvSpPr>
          <p:nvPr>
            <p:ph type="body" sz="quarter" idx="59"/>
          </p:nvPr>
        </p:nvSpPr>
        <p:spPr/>
        <p:txBody>
          <a:bodyPr/>
          <a:lstStyle/>
          <a:p>
            <a:endParaRPr lang="de-DE"/>
          </a:p>
        </p:txBody>
      </p:sp>
    </p:spTree>
    <p:extLst>
      <p:ext uri="{BB962C8B-B14F-4D97-AF65-F5344CB8AC3E}">
        <p14:creationId xmlns:p14="http://schemas.microsoft.com/office/powerpoint/2010/main" val="18193820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3EF52726-F3B7-4740-BE30-7A723194FF6B}"/>
              </a:ext>
            </a:extLst>
          </p:cNvPr>
          <p:cNvSpPr>
            <a:spLocks noGrp="1"/>
          </p:cNvSpPr>
          <p:nvPr>
            <p:ph type="sldNum" sz="quarter" idx="4294967295"/>
          </p:nvPr>
        </p:nvSpPr>
        <p:spPr>
          <a:xfrm>
            <a:off x="9448800" y="6356350"/>
            <a:ext cx="2743200" cy="365125"/>
          </a:xfrm>
        </p:spPr>
        <p:txBody>
          <a:bodyPr/>
          <a:lstStyle/>
          <a:p>
            <a:fld id="{03A904B3-5160-4A42-BE05-3A7A1F9AD063}" type="slidenum">
              <a:rPr lang="de-DE" smtClean="0"/>
              <a:t>21</a:t>
            </a:fld>
            <a:endParaRPr lang="de-DE"/>
          </a:p>
        </p:txBody>
      </p:sp>
    </p:spTree>
    <p:extLst>
      <p:ext uri="{BB962C8B-B14F-4D97-AF65-F5344CB8AC3E}">
        <p14:creationId xmlns:p14="http://schemas.microsoft.com/office/powerpoint/2010/main" val="35968662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C21C5-BBA6-E1E4-DFA4-175BC9E0A0A9}"/>
              </a:ext>
            </a:extLst>
          </p:cNvPr>
          <p:cNvSpPr>
            <a:spLocks noGrp="1"/>
          </p:cNvSpPr>
          <p:nvPr>
            <p:ph type="title"/>
          </p:nvPr>
        </p:nvSpPr>
        <p:spPr/>
        <p:txBody>
          <a:bodyPr/>
          <a:lstStyle/>
          <a:p>
            <a:r>
              <a:rPr lang="en-US">
                <a:cs typeface="Arial"/>
              </a:rPr>
              <a:t>What Makes Our Platform Unique?</a:t>
            </a:r>
            <a:endParaRPr lang="en-US"/>
          </a:p>
        </p:txBody>
      </p:sp>
      <p:sp>
        <p:nvSpPr>
          <p:cNvPr id="6" name="Slide Number Placeholder 5">
            <a:extLst>
              <a:ext uri="{FF2B5EF4-FFF2-40B4-BE49-F238E27FC236}">
                <a16:creationId xmlns:a16="http://schemas.microsoft.com/office/drawing/2014/main" id="{B0732E02-1D86-C694-720F-AE43C3AEB69C}"/>
              </a:ext>
            </a:extLst>
          </p:cNvPr>
          <p:cNvSpPr>
            <a:spLocks noGrp="1"/>
          </p:cNvSpPr>
          <p:nvPr>
            <p:ph type="sldNum" sz="quarter" idx="66"/>
          </p:nvPr>
        </p:nvSpPr>
        <p:spPr/>
        <p:txBody>
          <a:bodyPr/>
          <a:lstStyle/>
          <a:p>
            <a:fld id="{C6A4AD45-2621-4550-9DC5-4911F1B5FA4D}" type="slidenum">
              <a:rPr lang="de-DE" smtClean="0"/>
              <a:pPr/>
              <a:t>22</a:t>
            </a:fld>
            <a:endParaRPr lang="de-DE"/>
          </a:p>
        </p:txBody>
      </p:sp>
      <p:sp>
        <p:nvSpPr>
          <p:cNvPr id="66" name="Textplatzhalter 42">
            <a:extLst>
              <a:ext uri="{FF2B5EF4-FFF2-40B4-BE49-F238E27FC236}">
                <a16:creationId xmlns:a16="http://schemas.microsoft.com/office/drawing/2014/main" id="{E0B822B0-B1CE-6A20-F8A5-049C02FB9828}"/>
              </a:ext>
            </a:extLst>
          </p:cNvPr>
          <p:cNvSpPr>
            <a:spLocks noGrp="1"/>
          </p:cNvSpPr>
          <p:nvPr>
            <p:ph type="body" sz="quarter" idx="59"/>
          </p:nvPr>
        </p:nvSpPr>
        <p:spPr>
          <a:xfrm>
            <a:off x="518319" y="642855"/>
            <a:ext cx="9740106" cy="369332"/>
          </a:xfrm>
        </p:spPr>
        <p:txBody>
          <a:bodyPr/>
          <a:lstStyle/>
          <a:p>
            <a:r>
              <a:rPr lang="de-DE">
                <a:cs typeface="Arial"/>
              </a:rPr>
              <a:t>Standout Design Feature</a:t>
            </a:r>
            <a:endParaRPr lang="de-DE"/>
          </a:p>
        </p:txBody>
      </p:sp>
      <p:sp>
        <p:nvSpPr>
          <p:cNvPr id="4" name="TextBox 3">
            <a:extLst>
              <a:ext uri="{FF2B5EF4-FFF2-40B4-BE49-F238E27FC236}">
                <a16:creationId xmlns:a16="http://schemas.microsoft.com/office/drawing/2014/main" id="{853FDC43-39DC-57C9-5B88-F7AAAFBCD72A}"/>
              </a:ext>
            </a:extLst>
          </p:cNvPr>
          <p:cNvSpPr txBox="1"/>
          <p:nvPr/>
        </p:nvSpPr>
        <p:spPr>
          <a:xfrm>
            <a:off x="518319" y="1406013"/>
            <a:ext cx="2981966" cy="55399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en-CA" b="0" i="0" u="none" strike="noStrike" kern="1200" cap="none" spc="0" normalizeH="0" baseline="0" noProof="0">
                <a:ln>
                  <a:noFill/>
                </a:ln>
                <a:solidFill>
                  <a:srgbClr val="000000"/>
                </a:solidFill>
                <a:effectLst/>
                <a:uLnTx/>
                <a:uFillTx/>
                <a:latin typeface="ZEISS Frutiger Next W1G"/>
                <a:ea typeface="+mn-ea"/>
                <a:cs typeface="+mn-cs"/>
              </a:rPr>
              <a:t>3D Printed Ball Joint to Connect the Legs to the Platform: </a:t>
            </a:r>
          </a:p>
        </p:txBody>
      </p:sp>
      <mc:AlternateContent xmlns:mc="http://schemas.openxmlformats.org/markup-compatibility/2006">
        <mc:Choice xmlns:am3d="http://schemas.microsoft.com/office/drawing/2017/model3d" Requires="am3d">
          <p:graphicFrame>
            <p:nvGraphicFramePr>
              <p:cNvPr id="5" name="3D-Modell 4">
                <a:extLst>
                  <a:ext uri="{FF2B5EF4-FFF2-40B4-BE49-F238E27FC236}">
                    <a16:creationId xmlns:a16="http://schemas.microsoft.com/office/drawing/2014/main" id="{E38515B5-240A-BC78-79F9-DE9A3B8FDE44}"/>
                  </a:ext>
                </a:extLst>
              </p:cNvPr>
              <p:cNvGraphicFramePr>
                <a:graphicFrameLocks noChangeAspect="1"/>
              </p:cNvGraphicFramePr>
              <p:nvPr>
                <p:extLst>
                  <p:ext uri="{D42A27DB-BD31-4B8C-83A1-F6EECF244321}">
                    <p14:modId xmlns:p14="http://schemas.microsoft.com/office/powerpoint/2010/main" val="3155315859"/>
                  </p:ext>
                </p:extLst>
              </p:nvPr>
            </p:nvGraphicFramePr>
            <p:xfrm>
              <a:off x="7897469" y="-191329"/>
              <a:ext cx="2237418" cy="4122560"/>
            </p:xfrm>
            <a:graphic>
              <a:graphicData uri="http://schemas.microsoft.com/office/drawing/2017/model3d">
                <am3d:model3d r:embed="rId2">
                  <am3d:spPr>
                    <a:xfrm>
                      <a:off x="0" y="0"/>
                      <a:ext cx="2237418" cy="4122560"/>
                    </a:xfrm>
                    <a:prstGeom prst="rect">
                      <a:avLst/>
                    </a:prstGeom>
                  </am3d:spPr>
                  <am3d:camera>
                    <am3d:pos x="0" y="0" z="62336142"/>
                    <am3d:up dx="0" dy="36000000" dz="0"/>
                    <am3d:lookAt x="0" y="0" z="0"/>
                    <am3d:perspective fov="2700000"/>
                  </am3d:camera>
                  <am3d:trans>
                    <am3d:meterPerModelUnit n="31553" d="1000000"/>
                    <am3d:preTrans dx="0" dy="-9367013" dz="0"/>
                    <am3d:scale>
                      <am3d:sx n="1000000" d="1000000"/>
                      <am3d:sy n="1000000" d="1000000"/>
                      <am3d:sz n="1000000" d="1000000"/>
                    </am3d:scale>
                    <am3d:rot ax="-9000000" az="351"/>
                    <am3d:postTrans dx="0" dy="0" dz="0"/>
                  </am3d:trans>
                  <am3d:raster rName="Office3DRenderer" rVer="16.0.8326">
                    <am3d:blip r:embed="rId3"/>
                  </am3d:raster>
                  <am3d:objViewport viewportSz="5284113"/>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5" name="3D-Modell 4">
                <a:extLst>
                  <a:ext uri="{FF2B5EF4-FFF2-40B4-BE49-F238E27FC236}">
                    <a16:creationId xmlns:a16="http://schemas.microsoft.com/office/drawing/2014/main" id="{E38515B5-240A-BC78-79F9-DE9A3B8FDE44}"/>
                  </a:ext>
                </a:extLst>
              </p:cNvPr>
              <p:cNvPicPr>
                <a:picLocks noGrp="1" noRot="1" noChangeAspect="1" noMove="1" noResize="1" noEditPoints="1" noAdjustHandles="1" noChangeArrowheads="1" noChangeShapeType="1" noCrop="1"/>
              </p:cNvPicPr>
              <p:nvPr/>
            </p:nvPicPr>
            <p:blipFill>
              <a:blip r:embed="rId3"/>
              <a:stretch>
                <a:fillRect/>
              </a:stretch>
            </p:blipFill>
            <p:spPr>
              <a:xfrm>
                <a:off x="7897469" y="-191329"/>
                <a:ext cx="2237418" cy="4122560"/>
              </a:xfrm>
              <a:prstGeom prst="rect">
                <a:avLst/>
              </a:prstGeom>
            </p:spPr>
          </p:pic>
        </mc:Fallback>
      </mc:AlternateContent>
      <mc:AlternateContent xmlns:mc="http://schemas.openxmlformats.org/markup-compatibility/2006">
        <mc:Choice xmlns:am3d="http://schemas.microsoft.com/office/drawing/2017/model3d" Requires="am3d">
          <p:graphicFrame>
            <p:nvGraphicFramePr>
              <p:cNvPr id="7" name="3D-Modell 6">
                <a:extLst>
                  <a:ext uri="{FF2B5EF4-FFF2-40B4-BE49-F238E27FC236}">
                    <a16:creationId xmlns:a16="http://schemas.microsoft.com/office/drawing/2014/main" id="{E97F261A-D65C-4196-B874-70FBBDD486F7}"/>
                  </a:ext>
                </a:extLst>
              </p:cNvPr>
              <p:cNvGraphicFramePr>
                <a:graphicFrameLocks noChangeAspect="1"/>
              </p:cNvGraphicFramePr>
              <p:nvPr>
                <p:extLst>
                  <p:ext uri="{D42A27DB-BD31-4B8C-83A1-F6EECF244321}">
                    <p14:modId xmlns:p14="http://schemas.microsoft.com/office/powerpoint/2010/main" val="3679010427"/>
                  </p:ext>
                </p:extLst>
              </p:nvPr>
            </p:nvGraphicFramePr>
            <p:xfrm>
              <a:off x="1434190" y="894250"/>
              <a:ext cx="3685455" cy="3950660"/>
            </p:xfrm>
            <a:graphic>
              <a:graphicData uri="http://schemas.microsoft.com/office/drawing/2017/model3d">
                <am3d:model3d r:embed="rId4">
                  <am3d:spPr>
                    <a:xfrm>
                      <a:off x="0" y="0"/>
                      <a:ext cx="3685455" cy="3950660"/>
                    </a:xfrm>
                    <a:prstGeom prst="rect">
                      <a:avLst/>
                    </a:prstGeom>
                  </am3d:spPr>
                  <am3d:camera>
                    <am3d:pos x="0" y="0" z="73310977"/>
                    <am3d:up dx="0" dy="36000000" dz="0"/>
                    <am3d:lookAt x="0" y="0" z="0"/>
                    <am3d:perspective fov="2700000"/>
                  </am3d:camera>
                  <am3d:trans>
                    <am3d:meterPerModelUnit n="33156" d="1000000"/>
                    <am3d:preTrans dx="0" dy="0" dz="-7137931"/>
                    <am3d:scale>
                      <am3d:sx n="1000000" d="1000000"/>
                      <am3d:sy n="1000000" d="1000000"/>
                      <am3d:sz n="1000000" d="1000000"/>
                    </am3d:scale>
                    <am3d:rot ax="7200000"/>
                    <am3d:postTrans dx="0" dy="0" dz="0"/>
                  </am3d:trans>
                  <am3d:raster rName="Office3DRenderer" rVer="16.0.8326">
                    <am3d:blip r:embed="rId5"/>
                  </am3d:raster>
                  <am3d:objViewport viewportSz="541866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7" name="3D-Modell 6">
                <a:extLst>
                  <a:ext uri="{FF2B5EF4-FFF2-40B4-BE49-F238E27FC236}">
                    <a16:creationId xmlns:a16="http://schemas.microsoft.com/office/drawing/2014/main" id="{E97F261A-D65C-4196-B874-70FBBDD486F7}"/>
                  </a:ext>
                </a:extLst>
              </p:cNvPr>
              <p:cNvPicPr>
                <a:picLocks noGrp="1" noRot="1" noChangeAspect="1" noMove="1" noResize="1" noEditPoints="1" noAdjustHandles="1" noChangeArrowheads="1" noChangeShapeType="1" noCrop="1"/>
              </p:cNvPicPr>
              <p:nvPr/>
            </p:nvPicPr>
            <p:blipFill>
              <a:blip r:embed="rId5"/>
              <a:stretch>
                <a:fillRect/>
              </a:stretch>
            </p:blipFill>
            <p:spPr>
              <a:xfrm>
                <a:off x="1434190" y="894250"/>
                <a:ext cx="3685455" cy="3950660"/>
              </a:xfrm>
              <a:prstGeom prst="rect">
                <a:avLst/>
              </a:prstGeom>
            </p:spPr>
          </p:pic>
        </mc:Fallback>
      </mc:AlternateContent>
      <mc:AlternateContent xmlns:mc="http://schemas.openxmlformats.org/markup-compatibility/2006">
        <mc:Choice xmlns:am3d="http://schemas.microsoft.com/office/drawing/2017/model3d" Requires="am3d">
          <p:graphicFrame>
            <p:nvGraphicFramePr>
              <p:cNvPr id="8" name="3D-Modell 7">
                <a:extLst>
                  <a:ext uri="{FF2B5EF4-FFF2-40B4-BE49-F238E27FC236}">
                    <a16:creationId xmlns:a16="http://schemas.microsoft.com/office/drawing/2014/main" id="{1B1A213B-63C3-41A8-7338-84D64998531E}"/>
                  </a:ext>
                </a:extLst>
              </p:cNvPr>
              <p:cNvGraphicFramePr>
                <a:graphicFrameLocks noChangeAspect="1"/>
              </p:cNvGraphicFramePr>
              <p:nvPr>
                <p:extLst>
                  <p:ext uri="{D42A27DB-BD31-4B8C-83A1-F6EECF244321}">
                    <p14:modId xmlns:p14="http://schemas.microsoft.com/office/powerpoint/2010/main" val="4283362181"/>
                  </p:ext>
                </p:extLst>
              </p:nvPr>
            </p:nvGraphicFramePr>
            <p:xfrm>
              <a:off x="7304216" y="3341598"/>
              <a:ext cx="3423924" cy="3573061"/>
            </p:xfrm>
            <a:graphic>
              <a:graphicData uri="http://schemas.microsoft.com/office/drawing/2017/model3d">
                <am3d:model3d r:embed="rId6">
                  <am3d:spPr>
                    <a:xfrm>
                      <a:off x="0" y="0"/>
                      <a:ext cx="3423924" cy="3573061"/>
                    </a:xfrm>
                    <a:prstGeom prst="rect">
                      <a:avLst/>
                    </a:prstGeom>
                  </am3d:spPr>
                  <am3d:camera>
                    <am3d:pos x="0" y="0" z="70288235"/>
                    <am3d:up dx="0" dy="36000000" dz="0"/>
                    <am3d:lookAt x="0" y="0" z="0"/>
                    <am3d:perspective fov="2700000"/>
                  </am3d:camera>
                  <am3d:trans>
                    <am3d:meterPerModelUnit n="33156" d="1000000"/>
                    <am3d:preTrans dx="0" dy="-10241378" dz="0"/>
                    <am3d:scale>
                      <am3d:sx n="1000000" d="1000000"/>
                      <am3d:sy n="1000000" d="1000000"/>
                      <am3d:sz n="1000000" d="1000000"/>
                    </am3d:scale>
                    <am3d:rot ax="1800000"/>
                    <am3d:postTrans dx="0" dy="0" dz="0"/>
                  </am3d:trans>
                  <am3d:raster rName="Office3DRenderer" rVer="16.0.8326">
                    <am3d:blip r:embed="rId7"/>
                  </am3d:raster>
                  <am3d:objViewport viewportSz="5288058"/>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8" name="3D-Modell 7">
                <a:extLst>
                  <a:ext uri="{FF2B5EF4-FFF2-40B4-BE49-F238E27FC236}">
                    <a16:creationId xmlns:a16="http://schemas.microsoft.com/office/drawing/2014/main" id="{1B1A213B-63C3-41A8-7338-84D64998531E}"/>
                  </a:ext>
                </a:extLst>
              </p:cNvPr>
              <p:cNvPicPr>
                <a:picLocks noGrp="1" noRot="1" noChangeAspect="1" noMove="1" noResize="1" noEditPoints="1" noAdjustHandles="1" noChangeArrowheads="1" noChangeShapeType="1" noCrop="1"/>
              </p:cNvPicPr>
              <p:nvPr/>
            </p:nvPicPr>
            <p:blipFill>
              <a:blip r:embed="rId7"/>
              <a:stretch>
                <a:fillRect/>
              </a:stretch>
            </p:blipFill>
            <p:spPr>
              <a:xfrm>
                <a:off x="7304216" y="3341598"/>
                <a:ext cx="3423924" cy="3573061"/>
              </a:xfrm>
              <a:prstGeom prst="rect">
                <a:avLst/>
              </a:prstGeom>
            </p:spPr>
          </p:pic>
        </mc:Fallback>
      </mc:AlternateContent>
    </p:spTree>
    <p:extLst>
      <p:ext uri="{BB962C8B-B14F-4D97-AF65-F5344CB8AC3E}">
        <p14:creationId xmlns:p14="http://schemas.microsoft.com/office/powerpoint/2010/main" val="25885912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el 41">
            <a:extLst>
              <a:ext uri="{FF2B5EF4-FFF2-40B4-BE49-F238E27FC236}">
                <a16:creationId xmlns:a16="http://schemas.microsoft.com/office/drawing/2014/main" id="{C7E757C5-03D1-1F7C-8394-C9FB4BCDFB61}"/>
              </a:ext>
            </a:extLst>
          </p:cNvPr>
          <p:cNvSpPr>
            <a:spLocks noGrp="1"/>
          </p:cNvSpPr>
          <p:nvPr>
            <p:ph type="title"/>
          </p:nvPr>
        </p:nvSpPr>
        <p:spPr/>
        <p:txBody>
          <a:bodyPr/>
          <a:lstStyle/>
          <a:p>
            <a:r>
              <a:rPr lang="de-DE">
                <a:cs typeface="Arial"/>
              </a:rPr>
              <a:t>Design Goals</a:t>
            </a:r>
            <a:endParaRPr lang="de-DE"/>
          </a:p>
        </p:txBody>
      </p:sp>
      <p:sp>
        <p:nvSpPr>
          <p:cNvPr id="44" name="Textplatzhalter 43">
            <a:extLst>
              <a:ext uri="{FF2B5EF4-FFF2-40B4-BE49-F238E27FC236}">
                <a16:creationId xmlns:a16="http://schemas.microsoft.com/office/drawing/2014/main" id="{9A0D7DE8-29FE-08C8-D01C-97334E84F4D3}"/>
              </a:ext>
            </a:extLst>
          </p:cNvPr>
          <p:cNvSpPr>
            <a:spLocks noGrp="1"/>
          </p:cNvSpPr>
          <p:nvPr>
            <p:ph type="body" sz="quarter" idx="63"/>
          </p:nvPr>
        </p:nvSpPr>
        <p:spPr>
          <a:xfrm>
            <a:off x="518319" y="1128629"/>
            <a:ext cx="11160000" cy="4464000"/>
          </a:xfrm>
        </p:spPr>
        <p:txBody>
          <a:bodyPr vert="horz" lIns="0" tIns="0" rIns="540000" bIns="0" rtlCol="0" anchor="ctr" anchorCtr="0">
            <a:noAutofit/>
          </a:bodyPr>
          <a:lstStyle/>
          <a:p>
            <a:pPr algn="ctr"/>
            <a:r>
              <a:rPr lang="en-CA" sz="2400">
                <a:solidFill>
                  <a:srgbClr val="191B0E"/>
                </a:solidFill>
                <a:cs typeface="Arial"/>
              </a:rPr>
              <a:t>“Our goals for this project are to design a Stewart Platform that can balance balls of varying weight (ping pong ball, golf ball, ball bearing), for at least 15 seconds, while also being able to guide said balls along a set trajectory of a circle. The platform will need to maintain the balance of the balls after the introduction of physical disturbances.”</a:t>
            </a:r>
            <a:endParaRPr lang="de-DE" sz="2400">
              <a:cs typeface="Arial"/>
            </a:endParaRPr>
          </a:p>
          <a:p>
            <a:endParaRPr lang="de-DE"/>
          </a:p>
        </p:txBody>
      </p:sp>
      <p:sp>
        <p:nvSpPr>
          <p:cNvPr id="27" name="Foliennummernplatzhalter 26">
            <a:extLst>
              <a:ext uri="{FF2B5EF4-FFF2-40B4-BE49-F238E27FC236}">
                <a16:creationId xmlns:a16="http://schemas.microsoft.com/office/drawing/2014/main" id="{6ACF39F5-C145-B30E-6FE5-364D7828441D}"/>
              </a:ext>
            </a:extLst>
          </p:cNvPr>
          <p:cNvSpPr>
            <a:spLocks noGrp="1"/>
          </p:cNvSpPr>
          <p:nvPr>
            <p:ph type="sldNum" sz="quarter" idx="66"/>
          </p:nvPr>
        </p:nvSpPr>
        <p:spPr/>
        <p:txBody>
          <a:bodyPr/>
          <a:lstStyle/>
          <a:p>
            <a:fld id="{C6A4AD45-2621-4550-9DC5-4911F1B5FA4D}" type="slidenum">
              <a:rPr lang="de-DE" smtClean="0"/>
              <a:pPr/>
              <a:t>3</a:t>
            </a:fld>
            <a:endParaRPr lang="de-DE"/>
          </a:p>
        </p:txBody>
      </p:sp>
      <p:pic>
        <p:nvPicPr>
          <p:cNvPr id="2" name="Graphic 1" descr="Gears with solid fill">
            <a:extLst>
              <a:ext uri="{FF2B5EF4-FFF2-40B4-BE49-F238E27FC236}">
                <a16:creationId xmlns:a16="http://schemas.microsoft.com/office/drawing/2014/main" id="{D3EFF9B6-4275-4DF4-8FB6-1545493D3E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59932" y="4946731"/>
            <a:ext cx="914400" cy="914400"/>
          </a:xfrm>
          <a:prstGeom prst="rect">
            <a:avLst/>
          </a:prstGeom>
        </p:spPr>
      </p:pic>
      <p:sp>
        <p:nvSpPr>
          <p:cNvPr id="3" name="Textplatzhalter 42">
            <a:extLst>
              <a:ext uri="{FF2B5EF4-FFF2-40B4-BE49-F238E27FC236}">
                <a16:creationId xmlns:a16="http://schemas.microsoft.com/office/drawing/2014/main" id="{B0FAD62E-2CD3-2E12-244C-3E8F06F44816}"/>
              </a:ext>
            </a:extLst>
          </p:cNvPr>
          <p:cNvSpPr>
            <a:spLocks noGrp="1"/>
          </p:cNvSpPr>
          <p:nvPr>
            <p:ph type="body" sz="quarter" idx="59"/>
          </p:nvPr>
        </p:nvSpPr>
        <p:spPr>
          <a:xfrm>
            <a:off x="518319" y="642855"/>
            <a:ext cx="9740106" cy="369332"/>
          </a:xfrm>
        </p:spPr>
        <p:txBody>
          <a:bodyPr/>
          <a:lstStyle/>
          <a:p>
            <a:r>
              <a:rPr lang="de-DE" err="1">
                <a:cs typeface="Arial"/>
              </a:rPr>
              <a:t>What</a:t>
            </a:r>
            <a:r>
              <a:rPr lang="de-DE">
                <a:cs typeface="Arial"/>
              </a:rPr>
              <a:t> Did We Hope to Achieve?</a:t>
            </a:r>
            <a:endParaRPr lang="de-DE"/>
          </a:p>
        </p:txBody>
      </p:sp>
    </p:spTree>
    <p:extLst>
      <p:ext uri="{BB962C8B-B14F-4D97-AF65-F5344CB8AC3E}">
        <p14:creationId xmlns:p14="http://schemas.microsoft.com/office/powerpoint/2010/main" val="15331460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C21C5-BBA6-E1E4-DFA4-175BC9E0A0A9}"/>
              </a:ext>
            </a:extLst>
          </p:cNvPr>
          <p:cNvSpPr>
            <a:spLocks noGrp="1"/>
          </p:cNvSpPr>
          <p:nvPr>
            <p:ph type="title"/>
          </p:nvPr>
        </p:nvSpPr>
        <p:spPr/>
        <p:txBody>
          <a:bodyPr/>
          <a:lstStyle/>
          <a:p>
            <a:r>
              <a:rPr lang="en-US" dirty="0">
                <a:cs typeface="Arial"/>
              </a:rPr>
              <a:t>What Makes Our Platform Unique?</a:t>
            </a:r>
            <a:endParaRPr lang="en-US" dirty="0"/>
          </a:p>
        </p:txBody>
      </p:sp>
      <p:sp>
        <p:nvSpPr>
          <p:cNvPr id="6" name="Slide Number Placeholder 5">
            <a:extLst>
              <a:ext uri="{FF2B5EF4-FFF2-40B4-BE49-F238E27FC236}">
                <a16:creationId xmlns:a16="http://schemas.microsoft.com/office/drawing/2014/main" id="{B0732E02-1D86-C694-720F-AE43C3AEB69C}"/>
              </a:ext>
            </a:extLst>
          </p:cNvPr>
          <p:cNvSpPr>
            <a:spLocks noGrp="1"/>
          </p:cNvSpPr>
          <p:nvPr>
            <p:ph type="sldNum" sz="quarter" idx="66"/>
          </p:nvPr>
        </p:nvSpPr>
        <p:spPr/>
        <p:txBody>
          <a:bodyPr/>
          <a:lstStyle/>
          <a:p>
            <a:fld id="{C6A4AD45-2621-4550-9DC5-4911F1B5FA4D}" type="slidenum">
              <a:rPr lang="de-DE" smtClean="0"/>
              <a:pPr/>
              <a:t>4</a:t>
            </a:fld>
            <a:endParaRPr lang="de-DE"/>
          </a:p>
        </p:txBody>
      </p:sp>
      <p:sp>
        <p:nvSpPr>
          <p:cNvPr id="66" name="Textplatzhalter 42">
            <a:extLst>
              <a:ext uri="{FF2B5EF4-FFF2-40B4-BE49-F238E27FC236}">
                <a16:creationId xmlns:a16="http://schemas.microsoft.com/office/drawing/2014/main" id="{E0B822B0-B1CE-6A20-F8A5-049C02FB9828}"/>
              </a:ext>
            </a:extLst>
          </p:cNvPr>
          <p:cNvSpPr>
            <a:spLocks noGrp="1"/>
          </p:cNvSpPr>
          <p:nvPr>
            <p:ph type="body" sz="quarter" idx="59"/>
          </p:nvPr>
        </p:nvSpPr>
        <p:spPr>
          <a:xfrm>
            <a:off x="518319" y="642855"/>
            <a:ext cx="9740106" cy="369332"/>
          </a:xfrm>
        </p:spPr>
        <p:txBody>
          <a:bodyPr/>
          <a:lstStyle/>
          <a:p>
            <a:r>
              <a:rPr lang="de-DE">
                <a:cs typeface="Arial"/>
              </a:rPr>
              <a:t>Standout Design Feature</a:t>
            </a:r>
            <a:endParaRPr lang="de-DE"/>
          </a:p>
        </p:txBody>
      </p:sp>
      <p:sp>
        <p:nvSpPr>
          <p:cNvPr id="4" name="TextBox 3">
            <a:extLst>
              <a:ext uri="{FF2B5EF4-FFF2-40B4-BE49-F238E27FC236}">
                <a16:creationId xmlns:a16="http://schemas.microsoft.com/office/drawing/2014/main" id="{853FDC43-39DC-57C9-5B88-F7AAAFBCD72A}"/>
              </a:ext>
            </a:extLst>
          </p:cNvPr>
          <p:cNvSpPr txBox="1"/>
          <p:nvPr/>
        </p:nvSpPr>
        <p:spPr>
          <a:xfrm>
            <a:off x="518319" y="1406013"/>
            <a:ext cx="2981966" cy="55399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en-CA" b="0" i="0" u="none" strike="noStrike" kern="1200" cap="none" spc="0" normalizeH="0" baseline="0" noProof="0">
                <a:ln>
                  <a:noFill/>
                </a:ln>
                <a:solidFill>
                  <a:srgbClr val="000000"/>
                </a:solidFill>
                <a:effectLst/>
                <a:uLnTx/>
                <a:uFillTx/>
                <a:latin typeface="ZEISS Frutiger Next W1G"/>
                <a:ea typeface="+mn-ea"/>
                <a:cs typeface="+mn-cs"/>
              </a:rPr>
              <a:t>3D Printed Ball Joint to Connect the Legs to the Platform: </a:t>
            </a:r>
          </a:p>
        </p:txBody>
      </p:sp>
      <p:pic>
        <p:nvPicPr>
          <p:cNvPr id="3" name="Picture 2" descr="A white object with a square object on it&#10;&#10;Description automatically generated">
            <a:extLst>
              <a:ext uri="{FF2B5EF4-FFF2-40B4-BE49-F238E27FC236}">
                <a16:creationId xmlns:a16="http://schemas.microsoft.com/office/drawing/2014/main" id="{8BB254EE-82BB-2AE2-BF34-4CDC27D179AC}"/>
              </a:ext>
            </a:extLst>
          </p:cNvPr>
          <p:cNvPicPr>
            <a:picLocks noChangeAspect="1"/>
          </p:cNvPicPr>
          <p:nvPr/>
        </p:nvPicPr>
        <p:blipFill>
          <a:blip r:embed="rId2"/>
          <a:stretch>
            <a:fillRect/>
          </a:stretch>
        </p:blipFill>
        <p:spPr>
          <a:xfrm>
            <a:off x="4509626" y="1355409"/>
            <a:ext cx="4162426" cy="5039990"/>
          </a:xfrm>
          <a:prstGeom prst="rect">
            <a:avLst/>
          </a:prstGeom>
          <a:noFill/>
        </p:spPr>
      </p:pic>
    </p:spTree>
    <p:extLst>
      <p:ext uri="{BB962C8B-B14F-4D97-AF65-F5344CB8AC3E}">
        <p14:creationId xmlns:p14="http://schemas.microsoft.com/office/powerpoint/2010/main" val="34027550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oliennummernplatzhalter 26">
            <a:extLst>
              <a:ext uri="{FF2B5EF4-FFF2-40B4-BE49-F238E27FC236}">
                <a16:creationId xmlns:a16="http://schemas.microsoft.com/office/drawing/2014/main" id="{6ACF39F5-C145-B30E-6FE5-364D7828441D}"/>
              </a:ext>
            </a:extLst>
          </p:cNvPr>
          <p:cNvSpPr>
            <a:spLocks noGrp="1"/>
          </p:cNvSpPr>
          <p:nvPr>
            <p:ph type="sldNum" sz="quarter" idx="66"/>
          </p:nvPr>
        </p:nvSpPr>
        <p:spPr/>
        <p:txBody>
          <a:bodyPr/>
          <a:lstStyle/>
          <a:p>
            <a:fld id="{C6A4AD45-2621-4550-9DC5-4911F1B5FA4D}" type="slidenum">
              <a:rPr lang="de-DE" smtClean="0"/>
              <a:pPr/>
              <a:t>5</a:t>
            </a:fld>
            <a:endParaRPr lang="de-DE"/>
          </a:p>
        </p:txBody>
      </p:sp>
      <p:sp>
        <p:nvSpPr>
          <p:cNvPr id="3" name="Textplatzhalter 43">
            <a:extLst>
              <a:ext uri="{FF2B5EF4-FFF2-40B4-BE49-F238E27FC236}">
                <a16:creationId xmlns:a16="http://schemas.microsoft.com/office/drawing/2014/main" id="{076D89DF-0CE3-96E7-5883-2CE7A254FCE2}"/>
              </a:ext>
            </a:extLst>
          </p:cNvPr>
          <p:cNvSpPr txBox="1">
            <a:spLocks/>
          </p:cNvSpPr>
          <p:nvPr/>
        </p:nvSpPr>
        <p:spPr>
          <a:xfrm>
            <a:off x="516000" y="1236783"/>
            <a:ext cx="11160000" cy="4908377"/>
          </a:xfrm>
          <a:prstGeom prst="rect">
            <a:avLst/>
          </a:prstGeom>
        </p:spPr>
        <p:txBody>
          <a:bodyPr vert="horz" lIns="0" tIns="0" rIns="540000" bIns="0" rtlCol="0" anchor="ctr" anchorCtr="0">
            <a:noAutofit/>
          </a:bodyPr>
          <a:lstStyle>
            <a:lvl1pPr marL="0" indent="0" algn="l" defTabSz="914400"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ZEISS Frutiger Next W1G"/>
                <a:ea typeface="+mn-ea"/>
                <a:cs typeface="Arial" panose="020B0604020202020204" pitchFamily="34" charset="0"/>
              </a:defRPr>
            </a:lvl1pPr>
            <a:lvl2pPr marL="180000" indent="-180000" algn="l" defTabSz="914400" rtl="0" eaLnBrk="1" latinLnBrk="0" hangingPunct="1">
              <a:lnSpc>
                <a:spcPct val="100000"/>
              </a:lnSpc>
              <a:spcBef>
                <a:spcPts val="0"/>
              </a:spcBef>
              <a:spcAft>
                <a:spcPts val="800"/>
              </a:spcAft>
              <a:buFont typeface="Wingdings" panose="05000000000000000000" pitchFamily="2" charset="2"/>
              <a:buChar char="§"/>
              <a:defRPr sz="1600" kern="1200">
                <a:solidFill>
                  <a:schemeClr val="tx1"/>
                </a:solidFill>
                <a:latin typeface="ZEISS Frutiger Next W1G"/>
                <a:ea typeface="+mn-ea"/>
                <a:cs typeface="Arial" panose="020B0604020202020204" pitchFamily="34" charset="0"/>
              </a:defRPr>
            </a:lvl2pPr>
            <a:lvl3pPr marL="360000" indent="-180000" algn="l" defTabSz="914400" rtl="0" eaLnBrk="1" latinLnBrk="0" hangingPunct="1">
              <a:lnSpc>
                <a:spcPct val="100000"/>
              </a:lnSpc>
              <a:spcBef>
                <a:spcPts val="0"/>
              </a:spcBef>
              <a:spcAft>
                <a:spcPts val="800"/>
              </a:spcAft>
              <a:buFont typeface="Symbol" panose="05050102010706020507" pitchFamily="18" charset="2"/>
              <a:buChar char="-"/>
              <a:defRPr sz="1400" kern="1200">
                <a:solidFill>
                  <a:schemeClr val="tx1"/>
                </a:solidFill>
                <a:latin typeface="ZEISS Frutiger Next W1G"/>
                <a:ea typeface="+mn-ea"/>
                <a:cs typeface="Arial" panose="020B0604020202020204" pitchFamily="34" charset="0"/>
              </a:defRPr>
            </a:lvl3pPr>
            <a:lvl4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4pPr>
            <a:lvl5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5pPr>
            <a:lvl6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6pPr>
            <a:lvl7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7pPr>
            <a:lvl8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8pPr>
            <a:lvl9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9pPr>
          </a:lstStyle>
          <a:p>
            <a:endParaRPr lang="de-DE"/>
          </a:p>
        </p:txBody>
      </p:sp>
      <mc:AlternateContent xmlns:mc="http://schemas.openxmlformats.org/markup-compatibility/2006">
        <mc:Choice xmlns:am3d="http://schemas.microsoft.com/office/drawing/2017/model3d" Requires="am3d">
          <p:graphicFrame>
            <p:nvGraphicFramePr>
              <p:cNvPr id="4" name="3D-Modell 3">
                <a:extLst>
                  <a:ext uri="{FF2B5EF4-FFF2-40B4-BE49-F238E27FC236}">
                    <a16:creationId xmlns:a16="http://schemas.microsoft.com/office/drawing/2014/main" id="{17090774-0243-A972-A976-20528CF88BC3}"/>
                  </a:ext>
                </a:extLst>
              </p:cNvPr>
              <p:cNvGraphicFramePr>
                <a:graphicFrameLocks noChangeAspect="1"/>
              </p:cNvGraphicFramePr>
              <p:nvPr>
                <p:extLst>
                  <p:ext uri="{D42A27DB-BD31-4B8C-83A1-F6EECF244321}">
                    <p14:modId xmlns:p14="http://schemas.microsoft.com/office/powerpoint/2010/main" val="3340495780"/>
                  </p:ext>
                </p:extLst>
              </p:nvPr>
            </p:nvGraphicFramePr>
            <p:xfrm>
              <a:off x="1961905" y="2397805"/>
              <a:ext cx="8329142" cy="2179856"/>
            </p:xfrm>
            <a:graphic>
              <a:graphicData uri="http://schemas.microsoft.com/office/drawing/2017/model3d">
                <am3d:model3d r:embed="rId2">
                  <am3d:spPr>
                    <a:xfrm>
                      <a:off x="0" y="0"/>
                      <a:ext cx="8329142" cy="2179856"/>
                    </a:xfrm>
                    <a:prstGeom prst="rect">
                      <a:avLst/>
                    </a:prstGeom>
                  </am3d:spPr>
                  <am3d:camera>
                    <am3d:pos x="0" y="0" z="47811096"/>
                    <am3d:up dx="0" dy="36000000" dz="0"/>
                    <am3d:lookAt x="0" y="0" z="0"/>
                    <am3d:perspective fov="2700000"/>
                  </am3d:camera>
                  <am3d:trans>
                    <am3d:meterPerModelUnit n="6892" d="1000000"/>
                    <am3d:preTrans dx="10264389" dy="1063553" dz="1641313"/>
                    <am3d:scale>
                      <am3d:sx n="1000000" d="1000000"/>
                      <am3d:sy n="1000000" d="1000000"/>
                      <am3d:sz n="1000000" d="1000000"/>
                    </am3d:scale>
                    <am3d:rot ax="1200000" ay="1800000" az="600000"/>
                    <am3d:postTrans dx="0" dy="0" dz="0"/>
                  </am3d:trans>
                  <am3d:raster rName="Office3DRenderer" rVer="16.0.8326">
                    <am3d:blip r:embed="rId3"/>
                  </am3d:raster>
                  <am3d:objViewport viewportSz="8690864"/>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 name="3D-Modell 3">
                <a:extLst>
                  <a:ext uri="{FF2B5EF4-FFF2-40B4-BE49-F238E27FC236}">
                    <a16:creationId xmlns:a16="http://schemas.microsoft.com/office/drawing/2014/main" id="{17090774-0243-A972-A976-20528CF88BC3}"/>
                  </a:ext>
                </a:extLst>
              </p:cNvPr>
              <p:cNvPicPr>
                <a:picLocks noGrp="1" noRot="1" noChangeAspect="1" noMove="1" noResize="1" noEditPoints="1" noAdjustHandles="1" noChangeArrowheads="1" noChangeShapeType="1" noCrop="1"/>
              </p:cNvPicPr>
              <p:nvPr/>
            </p:nvPicPr>
            <p:blipFill>
              <a:blip r:embed="rId3"/>
              <a:stretch>
                <a:fillRect/>
              </a:stretch>
            </p:blipFill>
            <p:spPr>
              <a:xfrm>
                <a:off x="1961905" y="2397805"/>
                <a:ext cx="8329142" cy="2179856"/>
              </a:xfrm>
              <a:prstGeom prst="rect">
                <a:avLst/>
              </a:prstGeom>
            </p:spPr>
          </p:pic>
        </mc:Fallback>
      </mc:AlternateContent>
      <p:sp>
        <p:nvSpPr>
          <p:cNvPr id="5" name="Title 1">
            <a:extLst>
              <a:ext uri="{FF2B5EF4-FFF2-40B4-BE49-F238E27FC236}">
                <a16:creationId xmlns:a16="http://schemas.microsoft.com/office/drawing/2014/main" id="{04BEF3BD-BE56-DA97-C1B0-AE7C6FE99672}"/>
              </a:ext>
            </a:extLst>
          </p:cNvPr>
          <p:cNvSpPr>
            <a:spLocks noGrp="1"/>
          </p:cNvSpPr>
          <p:nvPr>
            <p:ph type="title"/>
          </p:nvPr>
        </p:nvSpPr>
        <p:spPr>
          <a:xfrm>
            <a:off x="518319" y="299633"/>
            <a:ext cx="9740106" cy="369332"/>
          </a:xfrm>
        </p:spPr>
        <p:txBody>
          <a:bodyPr/>
          <a:lstStyle/>
          <a:p>
            <a:r>
              <a:rPr lang="en-US" dirty="0">
                <a:cs typeface="Arial"/>
              </a:rPr>
              <a:t>Mechanical Design and Iterations</a:t>
            </a:r>
            <a:endParaRPr lang="en-US" dirty="0"/>
          </a:p>
        </p:txBody>
      </p:sp>
      <p:sp>
        <p:nvSpPr>
          <p:cNvPr id="6" name="Textplatzhalter 42">
            <a:extLst>
              <a:ext uri="{FF2B5EF4-FFF2-40B4-BE49-F238E27FC236}">
                <a16:creationId xmlns:a16="http://schemas.microsoft.com/office/drawing/2014/main" id="{B0793E9C-D388-8599-D45C-2BF583122617}"/>
              </a:ext>
            </a:extLst>
          </p:cNvPr>
          <p:cNvSpPr>
            <a:spLocks noGrp="1"/>
          </p:cNvSpPr>
          <p:nvPr>
            <p:ph type="body" sz="quarter" idx="59"/>
          </p:nvPr>
        </p:nvSpPr>
        <p:spPr>
          <a:xfrm>
            <a:off x="518319" y="642855"/>
            <a:ext cx="9740106" cy="369332"/>
          </a:xfrm>
        </p:spPr>
        <p:txBody>
          <a:bodyPr/>
          <a:lstStyle/>
          <a:p>
            <a:r>
              <a:rPr lang="en-US">
                <a:cs typeface="Arial"/>
              </a:rPr>
              <a:t>Where we started – Iterration 1</a:t>
            </a:r>
            <a:endParaRPr lang="en-US" dirty="0"/>
          </a:p>
        </p:txBody>
      </p:sp>
    </p:spTree>
    <p:extLst>
      <p:ext uri="{BB962C8B-B14F-4D97-AF65-F5344CB8AC3E}">
        <p14:creationId xmlns:p14="http://schemas.microsoft.com/office/powerpoint/2010/main" val="1787319496"/>
      </p:ext>
    </p:extLst>
  </p:cSld>
  <p:clrMapOvr>
    <a:masterClrMapping/>
  </p:clrMapOvr>
  <mc:AlternateContent xmlns:mc="http://schemas.openxmlformats.org/markup-compatibility/2006" xmlns:p14="http://schemas.microsoft.com/office/powerpoint/2010/main">
    <mc:Choice Requires="p14">
      <p:transition p14:dur="10" advClick="0" advTm="0"/>
    </mc:Choice>
    <mc:Fallback xmlns="">
      <p:transition advClick="0" advTm="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oliennummernplatzhalter 26">
            <a:extLst>
              <a:ext uri="{FF2B5EF4-FFF2-40B4-BE49-F238E27FC236}">
                <a16:creationId xmlns:a16="http://schemas.microsoft.com/office/drawing/2014/main" id="{6ACF39F5-C145-B30E-6FE5-364D7828441D}"/>
              </a:ext>
            </a:extLst>
          </p:cNvPr>
          <p:cNvSpPr>
            <a:spLocks noGrp="1"/>
          </p:cNvSpPr>
          <p:nvPr>
            <p:ph type="sldNum" sz="quarter" idx="66"/>
          </p:nvPr>
        </p:nvSpPr>
        <p:spPr/>
        <p:txBody>
          <a:bodyPr/>
          <a:lstStyle/>
          <a:p>
            <a:fld id="{C6A4AD45-2621-4550-9DC5-4911F1B5FA4D}" type="slidenum">
              <a:rPr lang="de-DE" smtClean="0"/>
              <a:pPr/>
              <a:t>6</a:t>
            </a:fld>
            <a:endParaRPr lang="de-DE"/>
          </a:p>
        </p:txBody>
      </p:sp>
      <p:sp>
        <p:nvSpPr>
          <p:cNvPr id="3" name="Textplatzhalter 43">
            <a:extLst>
              <a:ext uri="{FF2B5EF4-FFF2-40B4-BE49-F238E27FC236}">
                <a16:creationId xmlns:a16="http://schemas.microsoft.com/office/drawing/2014/main" id="{076D89DF-0CE3-96E7-5883-2CE7A254FCE2}"/>
              </a:ext>
            </a:extLst>
          </p:cNvPr>
          <p:cNvSpPr txBox="1">
            <a:spLocks/>
          </p:cNvSpPr>
          <p:nvPr/>
        </p:nvSpPr>
        <p:spPr>
          <a:xfrm>
            <a:off x="516000" y="1236783"/>
            <a:ext cx="11160000" cy="4908377"/>
          </a:xfrm>
          <a:prstGeom prst="rect">
            <a:avLst/>
          </a:prstGeom>
        </p:spPr>
        <p:txBody>
          <a:bodyPr vert="horz" lIns="0" tIns="0" rIns="540000" bIns="0" rtlCol="0" anchor="ctr" anchorCtr="0">
            <a:noAutofit/>
          </a:bodyPr>
          <a:lstStyle>
            <a:lvl1pPr marL="0" indent="0" algn="l" defTabSz="914400"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ZEISS Frutiger Next W1G"/>
                <a:ea typeface="+mn-ea"/>
                <a:cs typeface="Arial" panose="020B0604020202020204" pitchFamily="34" charset="0"/>
              </a:defRPr>
            </a:lvl1pPr>
            <a:lvl2pPr marL="180000" indent="-180000" algn="l" defTabSz="914400" rtl="0" eaLnBrk="1" latinLnBrk="0" hangingPunct="1">
              <a:lnSpc>
                <a:spcPct val="100000"/>
              </a:lnSpc>
              <a:spcBef>
                <a:spcPts val="0"/>
              </a:spcBef>
              <a:spcAft>
                <a:spcPts val="800"/>
              </a:spcAft>
              <a:buFont typeface="Wingdings" panose="05000000000000000000" pitchFamily="2" charset="2"/>
              <a:buChar char="§"/>
              <a:defRPr sz="1600" kern="1200">
                <a:solidFill>
                  <a:schemeClr val="tx1"/>
                </a:solidFill>
                <a:latin typeface="ZEISS Frutiger Next W1G"/>
                <a:ea typeface="+mn-ea"/>
                <a:cs typeface="Arial" panose="020B0604020202020204" pitchFamily="34" charset="0"/>
              </a:defRPr>
            </a:lvl2pPr>
            <a:lvl3pPr marL="360000" indent="-180000" algn="l" defTabSz="914400" rtl="0" eaLnBrk="1" latinLnBrk="0" hangingPunct="1">
              <a:lnSpc>
                <a:spcPct val="100000"/>
              </a:lnSpc>
              <a:spcBef>
                <a:spcPts val="0"/>
              </a:spcBef>
              <a:spcAft>
                <a:spcPts val="800"/>
              </a:spcAft>
              <a:buFont typeface="Symbol" panose="05050102010706020507" pitchFamily="18" charset="2"/>
              <a:buChar char="-"/>
              <a:defRPr sz="1400" kern="1200">
                <a:solidFill>
                  <a:schemeClr val="tx1"/>
                </a:solidFill>
                <a:latin typeface="ZEISS Frutiger Next W1G"/>
                <a:ea typeface="+mn-ea"/>
                <a:cs typeface="Arial" panose="020B0604020202020204" pitchFamily="34" charset="0"/>
              </a:defRPr>
            </a:lvl3pPr>
            <a:lvl4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4pPr>
            <a:lvl5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5pPr>
            <a:lvl6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6pPr>
            <a:lvl7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7pPr>
            <a:lvl8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8pPr>
            <a:lvl9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9pPr>
          </a:lstStyle>
          <a:p>
            <a:endParaRPr lang="de-DE"/>
          </a:p>
        </p:txBody>
      </p:sp>
      <mc:AlternateContent xmlns:mc="http://schemas.openxmlformats.org/markup-compatibility/2006">
        <mc:Choice xmlns:am3d="http://schemas.microsoft.com/office/drawing/2017/model3d" Requires="am3d">
          <p:graphicFrame>
            <p:nvGraphicFramePr>
              <p:cNvPr id="4" name="3D-Modell 3">
                <a:extLst>
                  <a:ext uri="{FF2B5EF4-FFF2-40B4-BE49-F238E27FC236}">
                    <a16:creationId xmlns:a16="http://schemas.microsoft.com/office/drawing/2014/main" id="{17090774-0243-A972-A976-20528CF88BC3}"/>
                  </a:ext>
                </a:extLst>
              </p:cNvPr>
              <p:cNvGraphicFramePr>
                <a:graphicFrameLocks noChangeAspect="1"/>
              </p:cNvGraphicFramePr>
              <p:nvPr>
                <p:extLst>
                  <p:ext uri="{D42A27DB-BD31-4B8C-83A1-F6EECF244321}">
                    <p14:modId xmlns:p14="http://schemas.microsoft.com/office/powerpoint/2010/main" val="506461122"/>
                  </p:ext>
                </p:extLst>
              </p:nvPr>
            </p:nvGraphicFramePr>
            <p:xfrm>
              <a:off x="2230360" y="1389975"/>
              <a:ext cx="7853191" cy="3931355"/>
            </p:xfrm>
            <a:graphic>
              <a:graphicData uri="http://schemas.microsoft.com/office/drawing/2017/model3d">
                <am3d:model3d r:embed="rId2">
                  <am3d:spPr>
                    <a:xfrm>
                      <a:off x="0" y="0"/>
                      <a:ext cx="7853191" cy="3931355"/>
                    </a:xfrm>
                    <a:prstGeom prst="rect">
                      <a:avLst/>
                    </a:prstGeom>
                  </am3d:spPr>
                  <am3d:camera>
                    <am3d:pos x="0" y="0" z="47811096"/>
                    <am3d:up dx="0" dy="36000000" dz="0"/>
                    <am3d:lookAt x="0" y="0" z="0"/>
                    <am3d:perspective fov="2700000"/>
                  </am3d:camera>
                  <am3d:trans>
                    <am3d:meterPerModelUnit n="6892" d="1000000"/>
                    <am3d:preTrans dx="10264389" dy="1063553" dz="1641313"/>
                    <am3d:scale>
                      <am3d:sx n="1000000" d="1000000"/>
                      <am3d:sy n="1000000" d="1000000"/>
                      <am3d:sz n="1000000" d="1000000"/>
                    </am3d:scale>
                    <am3d:rot ax="8700000" ay="-1800000" az="-9600000"/>
                    <am3d:postTrans dx="0" dy="0" dz="0"/>
                  </am3d:trans>
                  <am3d:raster rName="Office3DRenderer" rVer="16.0.8326">
                    <am3d:blip r:embed="rId3"/>
                  </am3d:raster>
                  <am3d:objViewport viewportSz="8690865"/>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 name="3D-Modell 3">
                <a:extLst>
                  <a:ext uri="{FF2B5EF4-FFF2-40B4-BE49-F238E27FC236}">
                    <a16:creationId xmlns:a16="http://schemas.microsoft.com/office/drawing/2014/main" id="{17090774-0243-A972-A976-20528CF88BC3}"/>
                  </a:ext>
                </a:extLst>
              </p:cNvPr>
              <p:cNvPicPr>
                <a:picLocks noGrp="1" noRot="1" noChangeAspect="1" noMove="1" noResize="1" noEditPoints="1" noAdjustHandles="1" noChangeArrowheads="1" noChangeShapeType="1" noCrop="1"/>
              </p:cNvPicPr>
              <p:nvPr/>
            </p:nvPicPr>
            <p:blipFill>
              <a:blip r:embed="rId3"/>
              <a:stretch>
                <a:fillRect/>
              </a:stretch>
            </p:blipFill>
            <p:spPr>
              <a:xfrm>
                <a:off x="2230360" y="1389975"/>
                <a:ext cx="7853191" cy="3931355"/>
              </a:xfrm>
              <a:prstGeom prst="rect">
                <a:avLst/>
              </a:prstGeom>
            </p:spPr>
          </p:pic>
        </mc:Fallback>
      </mc:AlternateContent>
      <p:sp>
        <p:nvSpPr>
          <p:cNvPr id="5" name="Title 1">
            <a:extLst>
              <a:ext uri="{FF2B5EF4-FFF2-40B4-BE49-F238E27FC236}">
                <a16:creationId xmlns:a16="http://schemas.microsoft.com/office/drawing/2014/main" id="{E436A8F5-BA9B-D3F2-A5AE-E141168FEB3C}"/>
              </a:ext>
            </a:extLst>
          </p:cNvPr>
          <p:cNvSpPr>
            <a:spLocks noGrp="1"/>
          </p:cNvSpPr>
          <p:nvPr>
            <p:ph type="title"/>
          </p:nvPr>
        </p:nvSpPr>
        <p:spPr>
          <a:xfrm>
            <a:off x="518319" y="299633"/>
            <a:ext cx="9740106" cy="369332"/>
          </a:xfrm>
        </p:spPr>
        <p:txBody>
          <a:bodyPr/>
          <a:lstStyle/>
          <a:p>
            <a:r>
              <a:rPr lang="en-US" dirty="0">
                <a:cs typeface="Arial"/>
              </a:rPr>
              <a:t>Mechanical Design and Iterations</a:t>
            </a:r>
            <a:endParaRPr lang="en-US" dirty="0"/>
          </a:p>
        </p:txBody>
      </p:sp>
      <p:sp>
        <p:nvSpPr>
          <p:cNvPr id="6" name="Textplatzhalter 42">
            <a:extLst>
              <a:ext uri="{FF2B5EF4-FFF2-40B4-BE49-F238E27FC236}">
                <a16:creationId xmlns:a16="http://schemas.microsoft.com/office/drawing/2014/main" id="{8ADEF1A9-8EF5-5616-D9A7-F17CF17819ED}"/>
              </a:ext>
            </a:extLst>
          </p:cNvPr>
          <p:cNvSpPr>
            <a:spLocks noGrp="1"/>
          </p:cNvSpPr>
          <p:nvPr>
            <p:ph type="body" sz="quarter" idx="59"/>
          </p:nvPr>
        </p:nvSpPr>
        <p:spPr>
          <a:xfrm>
            <a:off x="518319" y="642855"/>
            <a:ext cx="9740106" cy="369332"/>
          </a:xfrm>
        </p:spPr>
        <p:txBody>
          <a:bodyPr/>
          <a:lstStyle/>
          <a:p>
            <a:r>
              <a:rPr lang="en-US">
                <a:cs typeface="Arial"/>
              </a:rPr>
              <a:t>Where we started – Iterration 1</a:t>
            </a:r>
            <a:endParaRPr lang="en-US" dirty="0"/>
          </a:p>
        </p:txBody>
      </p:sp>
    </p:spTree>
    <p:extLst>
      <p:ext uri="{BB962C8B-B14F-4D97-AF65-F5344CB8AC3E}">
        <p14:creationId xmlns:p14="http://schemas.microsoft.com/office/powerpoint/2010/main" val="30342028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oliennummernplatzhalter 26">
            <a:extLst>
              <a:ext uri="{FF2B5EF4-FFF2-40B4-BE49-F238E27FC236}">
                <a16:creationId xmlns:a16="http://schemas.microsoft.com/office/drawing/2014/main" id="{6ACF39F5-C145-B30E-6FE5-364D7828441D}"/>
              </a:ext>
            </a:extLst>
          </p:cNvPr>
          <p:cNvSpPr>
            <a:spLocks noGrp="1"/>
          </p:cNvSpPr>
          <p:nvPr>
            <p:ph type="sldNum" sz="quarter" idx="66"/>
          </p:nvPr>
        </p:nvSpPr>
        <p:spPr/>
        <p:txBody>
          <a:bodyPr/>
          <a:lstStyle/>
          <a:p>
            <a:fld id="{C6A4AD45-2621-4550-9DC5-4911F1B5FA4D}" type="slidenum">
              <a:rPr lang="de-DE" smtClean="0"/>
              <a:pPr/>
              <a:t>7</a:t>
            </a:fld>
            <a:endParaRPr lang="de-DE"/>
          </a:p>
        </p:txBody>
      </p:sp>
      <p:sp>
        <p:nvSpPr>
          <p:cNvPr id="3" name="Textplatzhalter 43">
            <a:extLst>
              <a:ext uri="{FF2B5EF4-FFF2-40B4-BE49-F238E27FC236}">
                <a16:creationId xmlns:a16="http://schemas.microsoft.com/office/drawing/2014/main" id="{076D89DF-0CE3-96E7-5883-2CE7A254FCE2}"/>
              </a:ext>
            </a:extLst>
          </p:cNvPr>
          <p:cNvSpPr txBox="1">
            <a:spLocks/>
          </p:cNvSpPr>
          <p:nvPr/>
        </p:nvSpPr>
        <p:spPr>
          <a:xfrm>
            <a:off x="516000" y="1236783"/>
            <a:ext cx="11160000" cy="4908377"/>
          </a:xfrm>
          <a:prstGeom prst="rect">
            <a:avLst/>
          </a:prstGeom>
        </p:spPr>
        <p:txBody>
          <a:bodyPr vert="horz" lIns="0" tIns="0" rIns="540000" bIns="0" rtlCol="0" anchor="ctr" anchorCtr="0">
            <a:noAutofit/>
          </a:bodyPr>
          <a:lstStyle>
            <a:lvl1pPr marL="0" indent="0" algn="l" defTabSz="914400"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ZEISS Frutiger Next W1G"/>
                <a:ea typeface="+mn-ea"/>
                <a:cs typeface="Arial" panose="020B0604020202020204" pitchFamily="34" charset="0"/>
              </a:defRPr>
            </a:lvl1pPr>
            <a:lvl2pPr marL="180000" indent="-180000" algn="l" defTabSz="914400" rtl="0" eaLnBrk="1" latinLnBrk="0" hangingPunct="1">
              <a:lnSpc>
                <a:spcPct val="100000"/>
              </a:lnSpc>
              <a:spcBef>
                <a:spcPts val="0"/>
              </a:spcBef>
              <a:spcAft>
                <a:spcPts val="800"/>
              </a:spcAft>
              <a:buFont typeface="Wingdings" panose="05000000000000000000" pitchFamily="2" charset="2"/>
              <a:buChar char="§"/>
              <a:defRPr sz="1600" kern="1200">
                <a:solidFill>
                  <a:schemeClr val="tx1"/>
                </a:solidFill>
                <a:latin typeface="ZEISS Frutiger Next W1G"/>
                <a:ea typeface="+mn-ea"/>
                <a:cs typeface="Arial" panose="020B0604020202020204" pitchFamily="34" charset="0"/>
              </a:defRPr>
            </a:lvl2pPr>
            <a:lvl3pPr marL="360000" indent="-180000" algn="l" defTabSz="914400" rtl="0" eaLnBrk="1" latinLnBrk="0" hangingPunct="1">
              <a:lnSpc>
                <a:spcPct val="100000"/>
              </a:lnSpc>
              <a:spcBef>
                <a:spcPts val="0"/>
              </a:spcBef>
              <a:spcAft>
                <a:spcPts val="800"/>
              </a:spcAft>
              <a:buFont typeface="Symbol" panose="05050102010706020507" pitchFamily="18" charset="2"/>
              <a:buChar char="-"/>
              <a:defRPr sz="1400" kern="1200">
                <a:solidFill>
                  <a:schemeClr val="tx1"/>
                </a:solidFill>
                <a:latin typeface="ZEISS Frutiger Next W1G"/>
                <a:ea typeface="+mn-ea"/>
                <a:cs typeface="Arial" panose="020B0604020202020204" pitchFamily="34" charset="0"/>
              </a:defRPr>
            </a:lvl3pPr>
            <a:lvl4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4pPr>
            <a:lvl5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5pPr>
            <a:lvl6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6pPr>
            <a:lvl7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7pPr>
            <a:lvl8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8pPr>
            <a:lvl9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9pPr>
          </a:lstStyle>
          <a:p>
            <a:endParaRPr lang="de-DE"/>
          </a:p>
        </p:txBody>
      </p:sp>
      <mc:AlternateContent xmlns:mc="http://schemas.openxmlformats.org/markup-compatibility/2006">
        <mc:Choice xmlns:am3d="http://schemas.microsoft.com/office/drawing/2017/model3d" Requires="am3d">
          <p:graphicFrame>
            <p:nvGraphicFramePr>
              <p:cNvPr id="4" name="3D-Modell 3">
                <a:extLst>
                  <a:ext uri="{FF2B5EF4-FFF2-40B4-BE49-F238E27FC236}">
                    <a16:creationId xmlns:a16="http://schemas.microsoft.com/office/drawing/2014/main" id="{17090774-0243-A972-A976-20528CF88BC3}"/>
                  </a:ext>
                </a:extLst>
              </p:cNvPr>
              <p:cNvGraphicFramePr>
                <a:graphicFrameLocks/>
              </p:cNvGraphicFramePr>
              <p:nvPr>
                <p:extLst>
                  <p:ext uri="{D42A27DB-BD31-4B8C-83A1-F6EECF244321}">
                    <p14:modId xmlns:p14="http://schemas.microsoft.com/office/powerpoint/2010/main" val="517876265"/>
                  </p:ext>
                </p:extLst>
              </p:nvPr>
            </p:nvGraphicFramePr>
            <p:xfrm>
              <a:off x="2047480" y="1725293"/>
              <a:ext cx="7853191" cy="3931355"/>
            </p:xfrm>
            <a:graphic>
              <a:graphicData uri="http://schemas.microsoft.com/office/drawing/2017/model3d">
                <am3d:model3d r:embed="rId2">
                  <am3d:spPr>
                    <a:xfrm>
                      <a:off x="0" y="0"/>
                      <a:ext cx="7853191" cy="3931355"/>
                    </a:xfrm>
                    <a:prstGeom prst="rect">
                      <a:avLst/>
                    </a:prstGeom>
                  </am3d:spPr>
                  <am3d:camera>
                    <am3d:pos x="0" y="0" z="47811096"/>
                    <am3d:up dx="0" dy="36000000" dz="0"/>
                    <am3d:lookAt x="0" y="0" z="0"/>
                    <am3d:perspective fov="397058"/>
                  </am3d:camera>
                  <am3d:trans>
                    <am3d:meterPerModelUnit n="6892" d="1000000"/>
                    <am3d:preTrans dx="10264389" dy="1063553" dz="1641313"/>
                    <am3d:scale>
                      <am3d:sx n="1000000" d="1000000"/>
                      <am3d:sy n="1000000" d="1000000"/>
                      <am3d:sz n="1000000" d="1000000"/>
                    </am3d:scale>
                    <am3d:rot ax="8700000" ay="-1800000" az="-9600000"/>
                    <am3d:postTrans dx="0" dy="0" dz="0"/>
                  </am3d:trans>
                  <am3d:raster rName="Office3DRenderer" rVer="16.0.8326">
                    <am3d:blip r:embed="rId3"/>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 name="3D-Modell 3">
                <a:extLst>
                  <a:ext uri="{FF2B5EF4-FFF2-40B4-BE49-F238E27FC236}">
                    <a16:creationId xmlns:a16="http://schemas.microsoft.com/office/drawing/2014/main" id="{17090774-0243-A972-A976-20528CF88BC3}"/>
                  </a:ext>
                </a:extLst>
              </p:cNvPr>
              <p:cNvPicPr>
                <a:picLocks noGrp="1" noRot="1" noChangeAspect="1" noMove="1" noResize="1" noEditPoints="1" noAdjustHandles="1" noChangeArrowheads="1" noChangeShapeType="1" noCrop="1"/>
              </p:cNvPicPr>
              <p:nvPr/>
            </p:nvPicPr>
            <p:blipFill>
              <a:blip r:embed="rId3"/>
              <a:stretch>
                <a:fillRect/>
              </a:stretch>
            </p:blipFill>
            <p:spPr>
              <a:xfrm>
                <a:off x="2047480" y="1725293"/>
                <a:ext cx="7853191" cy="3931355"/>
              </a:xfrm>
              <a:prstGeom prst="rect">
                <a:avLst/>
              </a:prstGeom>
            </p:spPr>
          </p:pic>
        </mc:Fallback>
      </mc:AlternateContent>
      <p:sp>
        <p:nvSpPr>
          <p:cNvPr id="5" name="Title 1">
            <a:extLst>
              <a:ext uri="{FF2B5EF4-FFF2-40B4-BE49-F238E27FC236}">
                <a16:creationId xmlns:a16="http://schemas.microsoft.com/office/drawing/2014/main" id="{9A2E7283-5E3B-05B1-7389-1BBF9E297AB5}"/>
              </a:ext>
            </a:extLst>
          </p:cNvPr>
          <p:cNvSpPr>
            <a:spLocks noGrp="1"/>
          </p:cNvSpPr>
          <p:nvPr>
            <p:ph type="title"/>
          </p:nvPr>
        </p:nvSpPr>
        <p:spPr>
          <a:xfrm>
            <a:off x="518319" y="299633"/>
            <a:ext cx="9740106" cy="369332"/>
          </a:xfrm>
        </p:spPr>
        <p:txBody>
          <a:bodyPr/>
          <a:lstStyle/>
          <a:p>
            <a:r>
              <a:rPr lang="en-US" dirty="0">
                <a:cs typeface="Arial"/>
              </a:rPr>
              <a:t>Mechanical Design and Iterations</a:t>
            </a:r>
            <a:endParaRPr lang="en-US" dirty="0"/>
          </a:p>
        </p:txBody>
      </p:sp>
      <p:sp>
        <p:nvSpPr>
          <p:cNvPr id="6" name="Textplatzhalter 42">
            <a:extLst>
              <a:ext uri="{FF2B5EF4-FFF2-40B4-BE49-F238E27FC236}">
                <a16:creationId xmlns:a16="http://schemas.microsoft.com/office/drawing/2014/main" id="{BB70ACA2-19F8-B3C4-45D2-6B700B83B196}"/>
              </a:ext>
            </a:extLst>
          </p:cNvPr>
          <p:cNvSpPr>
            <a:spLocks noGrp="1"/>
          </p:cNvSpPr>
          <p:nvPr>
            <p:ph type="body" sz="quarter" idx="59"/>
          </p:nvPr>
        </p:nvSpPr>
        <p:spPr>
          <a:xfrm>
            <a:off x="518319" y="642855"/>
            <a:ext cx="9740106" cy="369332"/>
          </a:xfrm>
        </p:spPr>
        <p:txBody>
          <a:bodyPr/>
          <a:lstStyle/>
          <a:p>
            <a:r>
              <a:rPr lang="en-US">
                <a:cs typeface="Arial"/>
              </a:rPr>
              <a:t>Where we started – Iterration 1</a:t>
            </a:r>
            <a:endParaRPr lang="en-US" dirty="0"/>
          </a:p>
        </p:txBody>
      </p:sp>
    </p:spTree>
    <p:extLst>
      <p:ext uri="{BB962C8B-B14F-4D97-AF65-F5344CB8AC3E}">
        <p14:creationId xmlns:p14="http://schemas.microsoft.com/office/powerpoint/2010/main" val="38640452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09B742C-F3DA-190D-9161-745E6CCCEF1B}"/>
              </a:ext>
            </a:extLst>
          </p:cNvPr>
          <p:cNvSpPr>
            <a:spLocks noGrp="1"/>
          </p:cNvSpPr>
          <p:nvPr>
            <p:ph type="sldNum" sz="quarter" idx="66"/>
          </p:nvPr>
        </p:nvSpPr>
        <p:spPr/>
        <p:txBody>
          <a:bodyPr/>
          <a:lstStyle/>
          <a:p>
            <a:fld id="{C6A4AD45-2621-4550-9DC5-4911F1B5FA4D}" type="slidenum">
              <a:rPr lang="de-DE" smtClean="0"/>
              <a:pPr/>
              <a:t>8</a:t>
            </a:fld>
            <a:endParaRPr lang="de-DE"/>
          </a:p>
        </p:txBody>
      </p:sp>
      <mc:AlternateContent xmlns:mc="http://schemas.openxmlformats.org/markup-compatibility/2006">
        <mc:Choice xmlns:am3d="http://schemas.microsoft.com/office/drawing/2017/model3d" Requires="am3d">
          <p:graphicFrame>
            <p:nvGraphicFramePr>
              <p:cNvPr id="3" name="3D-Modell 2">
                <a:extLst>
                  <a:ext uri="{FF2B5EF4-FFF2-40B4-BE49-F238E27FC236}">
                    <a16:creationId xmlns:a16="http://schemas.microsoft.com/office/drawing/2014/main" id="{D59FB9EA-F4B5-191E-F234-C7814E969E45}"/>
                  </a:ext>
                </a:extLst>
              </p:cNvPr>
              <p:cNvGraphicFramePr>
                <a:graphicFrameLocks noChangeAspect="1"/>
              </p:cNvGraphicFramePr>
              <p:nvPr>
                <p:extLst>
                  <p:ext uri="{D42A27DB-BD31-4B8C-83A1-F6EECF244321}">
                    <p14:modId xmlns:p14="http://schemas.microsoft.com/office/powerpoint/2010/main" val="3949592028"/>
                  </p:ext>
                </p:extLst>
              </p:nvPr>
            </p:nvGraphicFramePr>
            <p:xfrm>
              <a:off x="2674872" y="2345953"/>
              <a:ext cx="6984494" cy="3121135"/>
            </p:xfrm>
            <a:graphic>
              <a:graphicData uri="http://schemas.microsoft.com/office/drawing/2017/model3d">
                <am3d:model3d r:embed="rId2">
                  <am3d:spPr>
                    <a:xfrm>
                      <a:off x="0" y="0"/>
                      <a:ext cx="6984494" cy="3121135"/>
                    </a:xfrm>
                    <a:prstGeom prst="rect">
                      <a:avLst/>
                    </a:prstGeom>
                  </am3d:spPr>
                  <am3d:camera>
                    <am3d:pos x="0" y="0" z="66413336"/>
                    <am3d:up dx="0" dy="36000000" dz="0"/>
                    <am3d:lookAt x="0" y="0" z="0"/>
                    <am3d:perspective fov="2700000"/>
                  </am3d:camera>
                  <am3d:trans>
                    <am3d:meterPerModelUnit n="12578" d="1000000"/>
                    <am3d:preTrans dx="33584921" dy="1941075" dz="15573040"/>
                    <am3d:scale>
                      <am3d:sx n="1000000" d="1000000"/>
                      <am3d:sy n="1000000" d="1000000"/>
                      <am3d:sz n="1000000" d="1000000"/>
                    </am3d:scale>
                    <am3d:rot ax="8700000" ay="1800000" az="9600000"/>
                    <am3d:postTrans dx="0" dy="0" dz="0"/>
                  </am3d:trans>
                  <am3d:raster rName="Office3DRenderer" rVer="16.0.8326">
                    <am3d:blip r:embed="rId3"/>
                  </am3d:raster>
                  <am3d:objViewport viewportSz="7384149"/>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3" name="3D-Modell 2">
                <a:extLst>
                  <a:ext uri="{FF2B5EF4-FFF2-40B4-BE49-F238E27FC236}">
                    <a16:creationId xmlns:a16="http://schemas.microsoft.com/office/drawing/2014/main" id="{D59FB9EA-F4B5-191E-F234-C7814E969E45}"/>
                  </a:ext>
                </a:extLst>
              </p:cNvPr>
              <p:cNvPicPr>
                <a:picLocks noGrp="1" noRot="1" noChangeAspect="1" noMove="1" noResize="1" noEditPoints="1" noAdjustHandles="1" noChangeArrowheads="1" noChangeShapeType="1" noCrop="1"/>
              </p:cNvPicPr>
              <p:nvPr/>
            </p:nvPicPr>
            <p:blipFill>
              <a:blip r:embed="rId3"/>
              <a:stretch>
                <a:fillRect/>
              </a:stretch>
            </p:blipFill>
            <p:spPr>
              <a:xfrm>
                <a:off x="2674872" y="2345953"/>
                <a:ext cx="6984494" cy="3121135"/>
              </a:xfrm>
              <a:prstGeom prst="rect">
                <a:avLst/>
              </a:prstGeom>
            </p:spPr>
          </p:pic>
        </mc:Fallback>
      </mc:AlternateContent>
      <p:sp>
        <p:nvSpPr>
          <p:cNvPr id="2" name="Title 1">
            <a:extLst>
              <a:ext uri="{FF2B5EF4-FFF2-40B4-BE49-F238E27FC236}">
                <a16:creationId xmlns:a16="http://schemas.microsoft.com/office/drawing/2014/main" id="{8E4D9EC3-3558-67F3-C433-F340485676F5}"/>
              </a:ext>
            </a:extLst>
          </p:cNvPr>
          <p:cNvSpPr>
            <a:spLocks noGrp="1"/>
          </p:cNvSpPr>
          <p:nvPr>
            <p:ph type="title"/>
          </p:nvPr>
        </p:nvSpPr>
        <p:spPr>
          <a:xfrm>
            <a:off x="518319" y="299633"/>
            <a:ext cx="9740106" cy="369332"/>
          </a:xfrm>
        </p:spPr>
        <p:txBody>
          <a:bodyPr/>
          <a:lstStyle/>
          <a:p>
            <a:r>
              <a:rPr lang="en-US" dirty="0">
                <a:cs typeface="Arial"/>
              </a:rPr>
              <a:t>Mechanical Design and Iterations</a:t>
            </a:r>
            <a:endParaRPr lang="en-US" dirty="0"/>
          </a:p>
        </p:txBody>
      </p:sp>
      <p:sp>
        <p:nvSpPr>
          <p:cNvPr id="5" name="Textplatzhalter 42">
            <a:extLst>
              <a:ext uri="{FF2B5EF4-FFF2-40B4-BE49-F238E27FC236}">
                <a16:creationId xmlns:a16="http://schemas.microsoft.com/office/drawing/2014/main" id="{F342FA8C-BEEA-5AC0-B35D-654981070F6B}"/>
              </a:ext>
            </a:extLst>
          </p:cNvPr>
          <p:cNvSpPr>
            <a:spLocks noGrp="1"/>
          </p:cNvSpPr>
          <p:nvPr>
            <p:ph type="body" sz="quarter" idx="59"/>
          </p:nvPr>
        </p:nvSpPr>
        <p:spPr>
          <a:xfrm>
            <a:off x="518319" y="642855"/>
            <a:ext cx="9740106" cy="369332"/>
          </a:xfrm>
        </p:spPr>
        <p:txBody>
          <a:bodyPr/>
          <a:lstStyle/>
          <a:p>
            <a:r>
              <a:rPr lang="en-US">
                <a:cs typeface="Arial"/>
              </a:rPr>
              <a:t>Where we started – Iterration 1</a:t>
            </a:r>
            <a:endParaRPr lang="en-US" dirty="0"/>
          </a:p>
        </p:txBody>
      </p:sp>
    </p:spTree>
    <p:extLst>
      <p:ext uri="{BB962C8B-B14F-4D97-AF65-F5344CB8AC3E}">
        <p14:creationId xmlns:p14="http://schemas.microsoft.com/office/powerpoint/2010/main" val="30715948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09B742C-F3DA-190D-9161-745E6CCCEF1B}"/>
              </a:ext>
            </a:extLst>
          </p:cNvPr>
          <p:cNvSpPr>
            <a:spLocks noGrp="1"/>
          </p:cNvSpPr>
          <p:nvPr>
            <p:ph type="sldNum" sz="quarter" idx="66"/>
          </p:nvPr>
        </p:nvSpPr>
        <p:spPr/>
        <p:txBody>
          <a:bodyPr/>
          <a:lstStyle/>
          <a:p>
            <a:fld id="{C6A4AD45-2621-4550-9DC5-4911F1B5FA4D}" type="slidenum">
              <a:rPr lang="de-DE" smtClean="0"/>
              <a:pPr/>
              <a:t>9</a:t>
            </a:fld>
            <a:endParaRPr lang="de-DE"/>
          </a:p>
        </p:txBody>
      </p:sp>
      <mc:AlternateContent xmlns:mc="http://schemas.openxmlformats.org/markup-compatibility/2006">
        <mc:Choice xmlns:am3d="http://schemas.microsoft.com/office/drawing/2017/model3d" Requires="am3d">
          <p:graphicFrame>
            <p:nvGraphicFramePr>
              <p:cNvPr id="3" name="3D-Modell 2">
                <a:extLst>
                  <a:ext uri="{FF2B5EF4-FFF2-40B4-BE49-F238E27FC236}">
                    <a16:creationId xmlns:a16="http://schemas.microsoft.com/office/drawing/2014/main" id="{D59FB9EA-F4B5-191E-F234-C7814E969E45}"/>
                  </a:ext>
                </a:extLst>
              </p:cNvPr>
              <p:cNvGraphicFramePr>
                <a:graphicFrameLocks/>
              </p:cNvGraphicFramePr>
              <p:nvPr>
                <p:extLst>
                  <p:ext uri="{D42A27DB-BD31-4B8C-83A1-F6EECF244321}">
                    <p14:modId xmlns:p14="http://schemas.microsoft.com/office/powerpoint/2010/main" val="3511179414"/>
                  </p:ext>
                </p:extLst>
              </p:nvPr>
            </p:nvGraphicFramePr>
            <p:xfrm>
              <a:off x="2603752" y="2148485"/>
              <a:ext cx="6984494" cy="3121135"/>
            </p:xfrm>
            <a:graphic>
              <a:graphicData uri="http://schemas.microsoft.com/office/drawing/2017/model3d">
                <am3d:model3d r:embed="rId2">
                  <am3d:spPr>
                    <a:xfrm>
                      <a:off x="0" y="0"/>
                      <a:ext cx="6984494" cy="3121135"/>
                    </a:xfrm>
                    <a:prstGeom prst="rect">
                      <a:avLst/>
                    </a:prstGeom>
                  </am3d:spPr>
                  <am3d:camera>
                    <am3d:pos x="-2953016" y="9104381" z="66413336"/>
                    <am3d:up dx="0" dy="36000000" dz="0"/>
                    <am3d:lookAt x="-2953016" y="9104381" z="0"/>
                    <am3d:perspective fov="331007"/>
                  </am3d:camera>
                  <am3d:trans>
                    <am3d:meterPerModelUnit n="12578" d="1000000"/>
                    <am3d:preTrans dx="33584921" dy="1941075" dz="15573040"/>
                    <am3d:scale>
                      <am3d:sx n="1000000" d="1000000"/>
                      <am3d:sy n="1000000" d="1000000"/>
                      <am3d:sz n="1000000" d="1000000"/>
                    </am3d:scale>
                    <am3d:rot ax="8700000" ay="1800000" az="9600000"/>
                    <am3d:postTrans dx="0" dy="0" dz="0"/>
                  </am3d:trans>
                  <am3d:raster rName="Office3DRenderer" rVer="16.0.8326">
                    <am3d:blip r:embed="rId3"/>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3" name="3D-Modell 2">
                <a:extLst>
                  <a:ext uri="{FF2B5EF4-FFF2-40B4-BE49-F238E27FC236}">
                    <a16:creationId xmlns:a16="http://schemas.microsoft.com/office/drawing/2014/main" id="{D59FB9EA-F4B5-191E-F234-C7814E969E45}"/>
                  </a:ext>
                </a:extLst>
              </p:cNvPr>
              <p:cNvPicPr>
                <a:picLocks noGrp="1" noRot="1" noChangeAspect="1" noMove="1" noResize="1" noEditPoints="1" noAdjustHandles="1" noChangeArrowheads="1" noChangeShapeType="1" noCrop="1"/>
              </p:cNvPicPr>
              <p:nvPr/>
            </p:nvPicPr>
            <p:blipFill>
              <a:blip r:embed="rId3"/>
              <a:stretch>
                <a:fillRect/>
              </a:stretch>
            </p:blipFill>
            <p:spPr>
              <a:xfrm>
                <a:off x="2603752" y="2148485"/>
                <a:ext cx="6984494" cy="3121135"/>
              </a:xfrm>
              <a:prstGeom prst="rect">
                <a:avLst/>
              </a:prstGeom>
            </p:spPr>
          </p:pic>
        </mc:Fallback>
      </mc:AlternateContent>
      <p:sp>
        <p:nvSpPr>
          <p:cNvPr id="2" name="Title 1">
            <a:extLst>
              <a:ext uri="{FF2B5EF4-FFF2-40B4-BE49-F238E27FC236}">
                <a16:creationId xmlns:a16="http://schemas.microsoft.com/office/drawing/2014/main" id="{212A0D57-2003-B94A-4D0F-590A6DD7CCAD}"/>
              </a:ext>
            </a:extLst>
          </p:cNvPr>
          <p:cNvSpPr>
            <a:spLocks noGrp="1"/>
          </p:cNvSpPr>
          <p:nvPr>
            <p:ph type="title"/>
          </p:nvPr>
        </p:nvSpPr>
        <p:spPr>
          <a:xfrm>
            <a:off x="518319" y="299633"/>
            <a:ext cx="9740106" cy="369332"/>
          </a:xfrm>
        </p:spPr>
        <p:txBody>
          <a:bodyPr/>
          <a:lstStyle/>
          <a:p>
            <a:r>
              <a:rPr lang="en-US" dirty="0">
                <a:cs typeface="Arial"/>
              </a:rPr>
              <a:t>Mechanical Design and Iterations</a:t>
            </a:r>
            <a:endParaRPr lang="en-US" dirty="0"/>
          </a:p>
        </p:txBody>
      </p:sp>
      <p:sp>
        <p:nvSpPr>
          <p:cNvPr id="5" name="Textplatzhalter 42">
            <a:extLst>
              <a:ext uri="{FF2B5EF4-FFF2-40B4-BE49-F238E27FC236}">
                <a16:creationId xmlns:a16="http://schemas.microsoft.com/office/drawing/2014/main" id="{F90F7BC0-11AB-9A0F-3558-8E4B5CC487CA}"/>
              </a:ext>
            </a:extLst>
          </p:cNvPr>
          <p:cNvSpPr>
            <a:spLocks noGrp="1"/>
          </p:cNvSpPr>
          <p:nvPr>
            <p:ph type="body" sz="quarter" idx="59"/>
          </p:nvPr>
        </p:nvSpPr>
        <p:spPr>
          <a:xfrm>
            <a:off x="518319" y="642855"/>
            <a:ext cx="9740106" cy="369332"/>
          </a:xfrm>
        </p:spPr>
        <p:txBody>
          <a:bodyPr/>
          <a:lstStyle/>
          <a:p>
            <a:r>
              <a:rPr lang="en-US">
                <a:cs typeface="Arial"/>
              </a:rPr>
              <a:t>Where we started – Iterration 1</a:t>
            </a:r>
            <a:endParaRPr lang="en-US" dirty="0"/>
          </a:p>
        </p:txBody>
      </p:sp>
    </p:spTree>
    <p:extLst>
      <p:ext uri="{BB962C8B-B14F-4D97-AF65-F5344CB8AC3E}">
        <p14:creationId xmlns:p14="http://schemas.microsoft.com/office/powerpoint/2010/main" val="308214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b468f759-76e0-4d03-bd06-9d48572d903c"/>
  <p:tag name="EE4P_AGENDAWIZARD" val="&lt;ee4p&gt;&lt;layouts&gt;&lt;layout name=&quot;Section Divider Agenda&quot; id=&quot;491_1&quot;&gt;&lt;standard&gt;&lt;textframe horizontalAnchor=&quot;1&quot; marginBottom=&quot;0&quot; marginLeft=&quot;0&quot; marginRight=&quot;0&quot; marginTop=&quot;0&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1&quot; fontSize=&quot;14&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5.71654&quot; /&gt;&lt;column field=&quot;topic&quot; label=&quot;Topic&quot; leftSpacing=&quot;11.36126&quot; rightDistribute=&quot;1&quot; dock=&quot;1&quot; /&gt;&lt;column field=&quot;responsible&quot; label=&quot;Responsible&quot; visible=&quot;1&quot; checked=&quot;0&quot; leftSpacing=&quot;10&quot; dock=&quot;1&quot; /&gt;&lt;column field=&quot;freecolumn&quot; label=&quot;&quot; visible=&quot;0&quot; checked=&quot;0&quot; leftSpacing=&quot;10&quot; rightDistribute=&quot;1&quot; dock=&quot;1&quot; /&gt;&lt;column field=&quot;timeslot&quot; label=&quot;Time Slot&quot; visible=&quot;1&quot; checked=&quot;0&quot; leftSpacing=&quot;20&quot; rightSpacing=&quot;0&quot; dock=&quot;2&quot; /&gt;&lt;column field=&quot;pageno&quot; label=&quot;Page No.&quot; visible=&quot;0&quot; checked=&quot;0&quot; leftSpacing=&quot;20&quot; rightSpacing=&quot;0&quot; dock=&quot;2&quot; /&gt;&lt;/columns&gt;&lt;position left=&quot;40.81252&quot; top=&quot;133.7706&quot; width=&quot;878.7402&quot; height=&quot;351.4961&quot; /&gt;&lt;settings allowedSizingModeIds=&quot;1|2&quot; allowedFontSizes=&quot;8|9|10|10.5|11|12|14|16|18&quot; allowedTimeFormatIds=&quot;1|2|3&quot; slideLayout=&quot;11&quot; customLayoutNameSingle=&quot;&quot; customLayoutName=&quot;Section Divider#Kapiteltrenner#Section Divider&quot; customLayoutSeparators=&quot;#&quot; customLayoutIndex=&quot;&quot; showBreak=&quot;1&quot; singleAgendaSlideSelected=&quot;0&quot; backupSlideTitle=&quot;Backup: %agendaName%&quot; topMargin=&quot;0&quot; leftMargin=&quot;0&quot; allowedLevels=&quot;2&quot; itemNoFormats=&quot;{1:2}¦{1}.{2}&quot; /&gt;&lt;cases&gt;&lt;case level=&quot;1&quot; selected=&quot;0&quot; break=&quot;0&quot; topMinSpacing=&quot;10.5&quot; topMaxSpacing=&quot;10.5&quot; bottomMinSpacing=&quot;0&quot; bottomMaxSpacing=&quot;0&quot;&gt;&lt;element type=&quot;line&quot; value=&quot;&quot; filter=&quot;2&quot;&gt;&lt;position left=&quot;0&quot; top=&quot;itemHeight+5.25*scale*fontScale&quot; width=&quot;agendaWidth&quot; height=&quot;0&quot; /&gt;&lt;line style=&quot;1&quot; dashStyle=&quot;1&quot; foreColor=&quot;#dce3e9&quot; transparency=&quot;0&quot; visible=&quot;1&quot; weight=&quot;0.75&quot; /&gt;&lt;/element&gt;&lt;element type=&quot;line&quot; value=&quot;&quot;&gt;&lt;position left=&quot;0&quot; top=&quot;-5.25*scale*fontScale&quot; width=&quot;agendaWidth&quot; height=&quot;0&quot; /&gt;&lt;line style=&quot;1&quot; dashStyle=&quot;1&quot; foreColor=&quot;#dce3e9&quot; transparency=&quot;0&quot; visible=&quot;1&quot; weight=&quot;0.75&quot; /&gt;&lt;/element&gt;&lt;element field=&quot;itemno&quot; type=&quot;autoshape&quot; autoShapeType=&quot;1&quot;&gt;&lt;textframe verticalAnchor=&quot;3&quot; marginRight=&quot;0&quot; /&gt;&lt;paragraphformat alignment=&quot;1&quot; /&gt;&lt;font color=&quot;#0f2db3&quot; bold=&quot;1&quot; relativeSize=&quot;2&quot; /&gt;&lt;/element&gt;&lt;element field=&quot;topic&quot; type=&quot;autoshape&quot; autoShapeType=&quot;1&quot;&gt;&lt;paragraphformat alignment=&quot;1&quot; /&gt;&lt;textframe marginLeft=&quot;0&quot; verticalAnchor=&quot;3&quot; /&gt;&lt;/element&gt;&lt;element field=&quot;responsible&quot; type=&quot;autoshape&quot; autoShapeType=&quot;1&quot;&gt;&lt;paragraphformat alignment=&quot;1&quot; /&gt;&lt;textframe marginLeft=&quot;0&quot; verticalAnchor=&quot;3&quot; /&gt;&lt;/element&gt;&lt;element field=&quot;timeslot&quot; type=&quot;autoshape&quot; autoShapeType=&quot;1&quot;&gt;&lt;paragraphformat alignment=&quot;1&quot; /&gt;&lt;textframe marginLeft=&quot;0&quot; verticalAnchor=&quot;3&quot; /&gt;&lt;/element&gt;&lt;element field=&quot;pageno&quot; type=&quot;autoshape&quot; autoShapeType=&quot;1&quot;&gt;&lt;paragraphformat alignment=&quot;3&quot; /&gt;&lt;textframe marginLeft=&quot;0&quot; verticalAnchor=&quot;3&quot; /&gt;&lt;/element&gt;&lt;/case&gt;&lt;case level=&quot;1&quot; selected=&quot;1&quot; break=&quot;0&quot; topMinSpacing=&quot;10.5&quot; topMaxSpacing=&quot;10.5&quot; bottomMinSpacing=&quot;0&quot; bottomMaxSpacing=&quot;0&quot;&gt;&lt;element type=&quot;autoshape&quot; autoShapeType=&quot;1&quot; value=&quot;&quot;&gt;&lt;position left=&quot;-40.81252&quot; top=&quot;-5.25*scale*fontScale&quot; width=&quot;960&quot; height=&quot;1.25+itemHeight+10.5*scale*fontScale&quot; /&gt;&lt;fill foreColor=&quot;#0f2db3&quot; visible=&quot;1&quot; /&gt;&lt;/element&gt;&lt;element field=&quot;itemno&quot; type=&quot;autoshape&quot; autoShapeType=&quot;1&quot;&gt;&lt;textframe verticalAnchor=&quot;3&quot; marginRight=&quot;0&quot; /&gt;&lt;paragraphformat alignment=&quot;1&quot; /&gt;&lt;font color=&quot;14&quot; bold=&quot;1&quot; relativeSize=&quot;2&quot; /&gt;&lt;/element&gt;&lt;element field=&quot;topic&quot; type=&quot;autoshape&quot; autoShapeType=&quot;1&quot;&gt;&lt;paragraphformat alignment=&quot;1&quot; /&gt;&lt;textframe marginLeft=&quot;0&quot; verticalAnchor=&quot;3&quot; /&gt;&lt;font color=&quot;14&quot; /&gt;&lt;/element&gt;&lt;element field=&quot;responsible&quot; type=&quot;autoshape&quot; autoShapeType=&quot;1&quot;&gt;&lt;paragraphformat alignment=&quot;1&quot; /&gt;&lt;textframe marginLeft=&quot;0&quot; verticalAnchor=&quot;3&quot; /&gt;&lt;font color=&quot;14&quot; /&gt;&lt;/element&gt;&lt;element field=&quot;timeslot&quot; type=&quot;autoshape&quot; autoShapeType=&quot;1&quot;&gt;&lt;paragraphformat alignment=&quot;1&quot; /&gt;&lt;textframe marginLeft=&quot;0&quot; verticalAnchor=&quot;3&quot; /&gt;&lt;font color=&quot;14&quot; /&gt;&lt;/element&gt;&lt;element field=&quot;pageno&quot; type=&quot;autoshape&quot; autoShapeType=&quot;1&quot;&gt;&lt;paragraphformat alignment=&quot;3&quot; /&gt;&lt;textframe marginLeft=&quot;0&quot; verticalAnchor=&quot;3&quot; /&gt;&lt;font color=&quot;14&quot; /&gt;&lt;/element&gt;&lt;/case&gt;&lt;case level=&quot;2&quot; selected=&quot;0&quot; break=&quot;0&quot; topMinSpacing=&quot;10.5&quot; topMaxSpacing=&quot;10.5&quot; bottomMinSpacing=&quot;0&quot; bottomMaxSpacing=&quot;0&quot;&gt;&lt;element type=&quot;line&quot; value=&quot;&quot; filter=&quot;2&quot;&gt;&lt;position left=&quot;0&quot; top=&quot;itemHeight+5.25*scale*fontScale&quot; width=&quot;agendaWidth&quot; height=&quot;0&quot; /&gt;&lt;line style=&quot;1&quot; dashStyle=&quot;1&quot; foreColor=&quot;#dce3e9&quot; transparency=&quot;0&quot; visible=&quot;1&quot; weight=&quot;0.75&quot; /&gt;&lt;/element&gt;&lt;element type=&quot;line&quot; value=&quot;&quot;&gt;&lt;position left=&quot;35.71654*scale*fontScale&quot; top=&quot;-5.25*scale*fontScale&quot; width=&quot;agendaWidth-35.71654*scale*fontScale&quot; height=&quot;0&quot; /&gt;&lt;line style=&quot;1&quot; dashStyle=&quot;1&quot; foreColor=&quot;#dce3e9&quot; transparency=&quot;0&quot; visible=&quot;1&quot; weight=&quot;0.75&quot; /&gt;&lt;/element&gt;&lt;element field=&quot;itemno&quot; type=&quot;autoshape&quot; autoShapeType=&quot;1&quot; indent=&quot;(level-1)*(itemSingleHeight+topicLeftSpacing+1.788425)&quot; indentType=&quot;1&quot;&gt;&lt;position height=&quot;33.92811*scale*fontScale&quot; /&gt;&lt;textframe verticalAnchor=&quot;3&quot; marginRight=&quot;0&quot; /&gt;&lt;paragraphformat alignment=&quot;1&quot; /&gt;&lt;/element&gt;&lt;element field=&quot;topic&quot; type=&quot;autoshape&quot; autoShapeType=&quot;1&quot; indent=&quot;(level-1)*(itemSingleHeight)&quot; indentType=&quot;2&quot;&gt;&lt;paragraphformat alignment=&quot;1&quot; /&gt;&lt;textframe marginLeft=&quot;0&quot; verticalAnchor=&quot;3&quot; /&gt;&lt;/element&gt;&lt;element field=&quot;responsible&quot; type=&quot;autoshape&quot; autoShapeType=&quot;1&quot; indent=&quot;(level-1)*(itemSingleHeight)&quot; indentType=&quot;1&quot;&gt;&lt;paragraphformat alignment=&quot;1&quot; /&gt;&lt;textframe marginLeft=&quot;0&quot; verticalAnchor=&quot;3&quot; /&gt;&lt;/element&gt;&lt;element field=&quot;timeslot&quot; type=&quot;autoshape&quot; autoShapeType=&quot;1&quot;&gt;&lt;paragraphformat alignment=&quot;1&quot; /&gt;&lt;textframe marginLeft=&quot;0&quot; verticalAnchor=&quot;3&quot; /&gt;&lt;/element&gt;&lt;element field=&quot;pageno&quot; type=&quot;autoshape&quot; autoShapeType=&quot;1&quot;&gt;&lt;paragraphformat alignment=&quot;3&quot; /&gt;&lt;textframe marginLeft=&quot;0&quot; verticalAnchor=&quot;3&quot; /&gt;&lt;/element&gt;&lt;/case&gt;&lt;case level=&quot;2&quot; selected=&quot;1&quot; break=&quot;0&quot; topMinSpacing=&quot;10.5&quot; topMaxSpacing=&quot;10.5&quot; bottomMinSpacing=&quot;0&quot; bottomMaxSpacing=&quot;0&quot;&gt;&lt;element type=&quot;autoshape&quot; autoShapeType=&quot;1&quot; value=&quot;&quot;&gt;&lt;position left=&quot;-40.81252&quot; top=&quot;-5.25*scale*fontScale&quot; width=&quot;960&quot; height=&quot;1.25+itemHeight+10.5*scale*fontScale&quot; /&gt;&lt;fill foreColor=&quot;#0f2db3&quot; visible=&quot;1&quot; /&gt;&lt;/element&gt;&lt;element field=&quot;itemno&quot; type=&quot;autoshape&quot; autoShapeType=&quot;1&quot; indent=&quot;(level-1)*(itemSingleHeight+topicLeftSpacing+1.788425)&quot; indentType=&quot;1&quot;&gt;&lt;position height=&quot;33.92811*scale*fontScale&quot; /&gt;&lt;textframe verticalAnchor=&quot;3&quot; marginRight=&quot;0&quot; /&gt;&lt;paragraphformat alignment=&quot;1&quot; /&gt;&lt;font color=&quot;14&quot; /&gt;&lt;/element&gt;&lt;element field=&quot;topic&quot; type=&quot;autoshape&quot; autoShapeType=&quot;1&quot; indent=&quot;(level-1)*(itemSingleHeight)&quot; indentType=&quot;2&quot;&gt;&lt;paragraphformat alignment=&quot;1&quot; /&gt;&lt;textframe marginLeft=&quot;0&quot; verticalAnchor=&quot;3&quot; /&gt;&lt;font color=&quot;14&quot; /&gt;&lt;/element&gt;&lt;element field=&quot;responsible&quot; type=&quot;autoshape&quot; autoShapeType=&quot;1&quot; indent=&quot;(level-1)*(itemSingleHeight)&quot; indentType=&quot;1&quot;&gt;&lt;paragraphformat alignment=&quot;1&quot; /&gt;&lt;textframe marginLeft=&quot;0&quot; verticalAnchor=&quot;3&quot; /&gt;&lt;font color=&quot;14&quot; /&gt;&lt;/element&gt;&lt;element field=&quot;timeslot&quot; type=&quot;autoshape&quot; autoShapeType=&quot;1&quot;&gt;&lt;paragraphformat alignment=&quot;1&quot; /&gt;&lt;textframe marginLeft=&quot;0&quot; verticalAnchor=&quot;3&quot; /&gt;&lt;font color=&quot;14&quot; /&gt;&lt;/element&gt;&lt;element field=&quot;pageno&quot; type=&quot;autoshape&quot; autoShapeType=&quot;1&quot;&gt;&lt;paragraphformat alignment=&quot;3&quot; /&gt;&lt;textframe marginLeft=&quot;0&quot; verticalAnchor=&quot;3&quot; /&gt;&lt;font color=&quot;14&quot; /&gt;&lt;/element&gt;&lt;/case&gt;&lt;case level=&quot;1&quot; selected=&quot;0&quot; break=&quot;1&quot; topMinSpacing=&quot;10.5&quot; topMaxSpacing=&quot;10.5&quot; bottomMinSpacing=&quot;0&quot; bottomMaxSpacing=&quot;0&quot;&gt;&lt;element type=&quot;line&quot; value=&quot;&quot; filter=&quot;2&quot;&gt;&lt;position left=&quot;0&quot; top=&quot;itemHeight+5.25scale*fontScale&quot; width=&quot;agendaWidth&quot; height=&quot;0&quot; /&gt;&lt;line style=&quot;1&quot; dashStyle=&quot;1&quot; foreColor=&quot;#dce3e9&quot; transparency=&quot;0&quot; visible=&quot;1&quot; weight=&quot;0.75&quot; /&gt;&lt;/element&gt;&lt;element type=&quot;line&quot; value=&quot;&quot;&gt;&lt;position left=&quot;0&quot; top=&quot;-5.25*scale*fontScale&quot; width=&quot;agendaWidth&quot; height=&quot;0&quot; /&gt;&lt;line style=&quot;1&quot; dashStyle=&quot;1&quot; foreColor=&quot;#dce3e9&quot; transparency=&quot;0&quot; visible=&quot;1&quot; weight=&quot;0.75&quot; /&gt;&lt;/element&gt;&lt;element field=&quot;topic&quot; type=&quot;autoshape&quot; autoShapeType=&quot;1&quot;&gt;&lt;position height=&quot;33.92811*scale*fontScale&quot; /&gt;&lt;paragraphformat alignment=&quot;1&quot; /&gt;&lt;textframe marginLeft=&quot;0&quot; verticalAnchor=&quot;3&quot; /&gt;&lt;/element&gt;&lt;element field=&quot;responsible&quot; type=&quot;autoshape&quot; autoShapeType=&quot;1&quot;&gt;&lt;paragraphformat alignment=&quot;1&quot; /&gt;&lt;textframe marginLeft=&quot;0&quot; verticalAnchor=&quot;3&quot; /&gt;&lt;/element&gt;&lt;element field=&quot;timeslot&quot; type=&quot;autoshape&quot; autoShapeType=&quot;1&quot;&gt;&lt;paragraphformat alignment=&quot;1&quot; /&gt;&lt;textframe marginLeft=&quot;0&quot; verticalAnchor=&quot;3&quot; /&gt;&lt;/element&gt;&lt;element field=&quot;pageno&quot; type=&quot;autoshape&quot; autoShapeType=&quot;1&quot;&gt;&lt;paragraphformat alignment=&quot;3&quot; /&gt;&lt;textframe marginLeft=&quot;0&quot; verticalAnchor=&quot;3&quot; /&gt;&lt;/element&gt;&lt;/case&gt;&lt;case level=&quot;1&quot; selected=&quot;1&quot; break=&quot;1&quot; topMinSpacing=&quot;10.5&quot; topMaxSpacing=&quot;10.5&quot; bottomMinSpacing=&quot;0&quot; bottomMaxSpacing=&quot;0&quot;&gt;&lt;element type=&quot;autoshape&quot; autoShapeType=&quot;1&quot; value=&quot;&quot;&gt;&lt;position left=&quot;-40.81252&quot; top=&quot;-5.25*scale*fontScale&quot; width=&quot;960&quot; height=&quot;1.25+itemHeight+10.5*scale*fontScale&quot; /&gt;&lt;fill foreColor=&quot;#0f2db3&quot; visible=&quot;1&quot; /&gt;&lt;/element&gt;&lt;element field=&quot;topic&quot; type=&quot;autoshape&quot; autoShapeType=&quot;1&quot;&gt;&lt;position height=&quot;33.92811*scale*fontScale&quot; /&gt;&lt;paragraphformat alignment=&quot;1&quot; /&gt;&lt;textframe marginLeft=&quot;0&quot; verticalAnchor=&quot;3&quot; /&gt;&lt;font color=&quot;14&quot; /&gt;&lt;/element&gt;&lt;element field=&quot;responsible&quot; type=&quot;autoshape&quot; autoShapeType=&quot;1&quot;&gt;&lt;paragraphformat alignment=&quot;1&quot; /&gt;&lt;textframe marginLeft=&quot;0&quot; verticalAnchor=&quot;3&quot; /&gt;&lt;font color=&quot;14&quot; /&gt;&lt;/element&gt;&lt;element field=&quot;timeslot&quot; type=&quot;autoshape&quot; autoShapeType=&quot;1&quot;&gt;&lt;paragraphformat alignment=&quot;1&quot; /&gt;&lt;textframe marginLeft=&quot;0&quot; verticalAnchor=&quot;3&quot; /&gt;&lt;font color=&quot;14&quot; /&gt;&lt;/element&gt;&lt;element field=&quot;pageno&quot; type=&quot;autoshape&quot; autoShapeType=&quot;1&quot;&gt;&lt;paragraphformat alignment=&quot;3&quot; /&gt;&lt;textframe marginLeft=&quot;0&quot; verticalAnchor=&quot;3&quot; /&gt;&lt;font color=&quot;14&quot; /&gt;&lt;/element&gt;&lt;/case&gt;&lt;/cases&gt;&lt;elements /&gt;&lt;/layout&gt;&lt;/layouts&gt;&lt;contents&gt;&lt;agenda name=&quot;New Agenda&quot; title=&quot;Agenda&quot; subtitle=&quot;&quot; sizingModeId=&quot;1&quot; fontSize=&quot;18&quot; fontSizeAuto=&quot;0&quot; startTime=&quot;540&quot; timeFormatId=&quot;1&quot; startItemNo=&quot;1&quot; createSingleAgendaSlide=&quot;1&quot; createSeparatingSlides=&quot;1&quot; createBackupSlide=&quot;1&quot; layoutId=&quot;491_1&quot; hideSeparatingSlides=&quot;0&quot; createSections=&quot;0&quot; singleSlideId=&quot;b8054def-c79d-47c0-9f7a-8efeb3159b17&quot; backupSlideId=&quot;3d8867f4-a236-4b80-9d82-d052c2a55f6c&quot;&gt;&lt;columns leftSpacing=&quot;0&quot; rightSpacing=&quot;0&quot;&gt;&lt;column field=&quot;itemno&quot; label=&quot;No.&quot; checked=&quot;1&quot; leftSpacing=&quot;0&quot; rightSpacing=&quot;0&quot; dock=&quot;1&quot; fixedWidth=&quot;35.71654&quot; /&gt;&lt;column field=&quot;topic&quot; label=&quot;Topic&quot; leftSpacing=&quot;14.60734&quot; rightDistribute=&quot;1&quot; dock=&quot;1&quot; rightSpacing=&quot;652.61&quot; /&gt;&lt;column field=&quot;responsible&quot; label=&quot;Responsible&quot; visible=&quot;1&quot; checked=&quot;0&quot; leftSpacing=&quot;10&quot; dock=&quot;1&quot; /&gt;&lt;column field=&quot;freecolumn&quot; label=&quot;&quot; visible=&quot;0&quot; checked=&quot;0&quot; leftSpacing=&quot;10&quot; rightDistribute=&quot;1&quot; dock=&quot;1&quot; /&gt;&lt;column field=&quot;timeslot&quot; label=&quot;Time Slot&quot; visible=&quot;1&quot; checked=&quot;0&quot; leftSpacing=&quot;20&quot; rightSpacing=&quot;0&quot; dock=&quot;2&quot; /&gt;&lt;column field=&quot;pageno&quot; label=&quot;Page No.&quot; visible=&quot;0&quot; checked=&quot;0&quot; leftSpacing=&quot;20&quot; rightSpacing=&quot;0&quot; dock=&quot;2&quot; /&gt;&lt;/columns&gt;&lt;items&gt;&lt;item duration=&quot;30&quot; id=&quot;9155fe4a-7d34-4c30-8c69-ab9cb796c05f&quot; parentId=&quot;&quot; level=&quot;1&quot; generateAgendaSlide=&quot;1&quot; showAgendaItem=&quot;1&quot; isBreak=&quot;0&quot; topic=&quot;Problemstellung&quot; agendaSlideId=&quot;d7a49385-cff5-4c77-86ef-8fe9481951d0&quot; /&gt;&lt;item duration=&quot;30&quot; id=&quot;6736e858-7510-4966-b373-9b827becad04&quot; parentId=&quot;&quot; level=&quot;1&quot; generateAgendaSlide=&quot;1&quot; showAgendaItem=&quot;1&quot; isBreak=&quot;0&quot; topic=&quot;Anforderungen&quot; agendaSlideId=&quot;a7db6ba7-72b2-4936-a196-b291c0da5956&quot; /&gt;&lt;item duration=&quot;30&quot; id=&quot;8de54c87-77ac-41e2-9312-88888172b95d&quot; parentId=&quot;&quot; level=&quot;1&quot; generateAgendaSlide=&quot;1&quot; showAgendaItem=&quot;1&quot; isBreak=&quot;0&quot; topic=&quot;Mess- und Prüfprinzip&quot; agendaSlideId=&quot;6af0553f-d003-4993-96ed-a532cb811b37&quot; /&gt;&lt;item duration=&quot;30&quot; id=&quot;6131e443-38e7-4276-87f7-f41c0712277e&quot; parentId=&quot;&quot; level=&quot;1&quot; generateAgendaSlide=&quot;1&quot; showAgendaItem=&quot;1&quot; isBreak=&quot;0&quot; topic=&quot;Umsetzung&quot; agendaSlideId=&quot;0f8e3dea-11d9-4115-8b96-471584218ff7&quot; /&gt;&lt;item duration=&quot;30&quot; id=&quot;1a20ed3a-4db7-4382-9a7c-f85e299ba3a9&quot; parentId=&quot;&quot; level=&quot;1&quot; generateAgendaSlide=&quot;1&quot; showAgendaItem=&quot;1&quot; isBreak=&quot;0&quot; topic=&quot;Ausblick&quot; agendaSlideId=&quot;f3a54ac1-a758-4c31-90fd-78c8b2e0f479&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Element"/>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Topic"/>
  <p:tag name="EE4P_AGENDAWIZARD_CONTENT" val="/Mess- und Prüfprinzip"/>
  <p:tag name="EE4P_AGENDAWIZARD_PROPERTIES" val="101.3411/248.0144/165.6016/43.62189"/>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ItemNo"/>
  <p:tag name="EE4P_AGENDAWIZARD_CONTENT" val="/03"/>
  <p:tag name="EE4P_AGENDAWIZARD_PROPERTIES" val="40.81252/248.0144/45.92126/43.62189"/>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Element"/>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Topic"/>
  <p:tag name="EE4P_AGENDAWIZARD_CONTENT" val="/Anforderungen"/>
  <p:tag name="EE4P_AGENDAWIZARD_PROPERTIES" val="101.3411/190.8925/165.6016/43.62189"/>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ItemNo"/>
  <p:tag name="EE4P_AGENDAWIZARD_CONTENT" val="/02"/>
  <p:tag name="EE4P_AGENDAWIZARD_PROPERTIES" val="40.81252/190.8925/45.92126/43.62189"/>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Element"/>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Topic"/>
  <p:tag name="EE4P_AGENDAWIZARD_CONTENT" val="/Problemstellung"/>
  <p:tag name="EE4P_AGENDAWIZARD_PROPERTIES" val="101.3411/133.7706/165.6016/43.62189"/>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ItemNo"/>
  <p:tag name="EE4P_AGENDAWIZARD_CONTENT" val="/01"/>
  <p:tag name="EE4P_AGENDAWIZARD_PROPERTIES" val="40.81252/133.7706/45.92126/43.62189"/>
</p:tagLst>
</file>

<file path=ppt/tags/tag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d7a49385-cff5-4c77-86ef-8fe9481951d0"/>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Topic"/>
  <p:tag name="EE4P_AGENDAWIZARD_CONTENT" val="/Ausblick"/>
  <p:tag name="EE4P_AGENDAWIZARD_PROPERTIES" val="101.3411/362.2581/165.6016/43.62189"/>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ItemNo"/>
  <p:tag name="EE4P_AGENDAWIZARD_CONTENT" val="/05"/>
  <p:tag name="EE4P_AGENDAWIZARD_PROPERTIES" val="40.81252/362.2581/45.92126/43.62189"/>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Topic"/>
  <p:tag name="EE4P_AGENDAWIZARD_CONTENT" val="/Umsetzung"/>
  <p:tag name="EE4P_AGENDAWIZARD_PROPERTIES" val="101.3411/305.1363/165.6016/43.62181"/>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ItemNo"/>
  <p:tag name="EE4P_AGENDAWIZARD_CONTENT" val="/04"/>
  <p:tag name="EE4P_AGENDAWIZARD_PROPERTIES" val="40.81252/305.1363/45.92126/43.62181"/>
</p:tagLst>
</file>

<file path=ppt/theme/theme1.xml><?xml version="1.0" encoding="utf-8"?>
<a:theme xmlns:a="http://schemas.openxmlformats.org/drawingml/2006/main" name="DHBW x Zeiss Master">
  <a:themeElements>
    <a:clrScheme name="ZEISS">
      <a:dk1>
        <a:srgbClr val="000000"/>
      </a:dk1>
      <a:lt1>
        <a:srgbClr val="FFFFFF"/>
      </a:lt1>
      <a:dk2>
        <a:srgbClr val="000000"/>
      </a:dk2>
      <a:lt2>
        <a:srgbClr val="FFFFFF"/>
      </a:lt2>
      <a:accent1>
        <a:srgbClr val="055ED2"/>
      </a:accent1>
      <a:accent2>
        <a:srgbClr val="4895DD"/>
      </a:accent2>
      <a:accent3>
        <a:srgbClr val="6AB0E2"/>
      </a:accent3>
      <a:accent4>
        <a:srgbClr val="A7CCED"/>
      </a:accent4>
      <a:accent5>
        <a:srgbClr val="C6DAF2"/>
      </a:accent5>
      <a:accent6>
        <a:srgbClr val="E3F1FC"/>
      </a:accent6>
      <a:hlink>
        <a:srgbClr val="008BD0"/>
      </a:hlink>
      <a:folHlink>
        <a:srgbClr val="000000"/>
      </a:folHlink>
    </a:clrScheme>
    <a:fontScheme name="ZEISS">
      <a:majorFont>
        <a:latin typeface="ZEISS Frutiger Next W1G Heavy"/>
        <a:ea typeface=""/>
        <a:cs typeface=""/>
      </a:majorFont>
      <a:minorFont>
        <a:latin typeface="ZEISS Frutiger Next W1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6F6F6"/>
        </a:solidFill>
        <a:ln>
          <a:noFill/>
        </a:ln>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kumimoji="0" sz="1600" b="0" i="0" u="none" strike="noStrike" kern="1200" cap="none" spc="0" normalizeH="0" baseline="0" noProof="0" dirty="0" smtClean="0">
            <a:ln>
              <a:noFill/>
            </a:ln>
            <a:solidFill>
              <a:srgbClr val="000000"/>
            </a:solidFill>
            <a:effectLst/>
            <a:uLnTx/>
            <a:uFillTx/>
            <a:latin typeface="ZEISS Frutiger Next W1G"/>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kumimoji="0" sz="1600" b="0" i="0" u="none" strike="noStrike" kern="1200" cap="none" spc="0" normalizeH="0" baseline="0" noProof="0" dirty="0" smtClean="0">
            <a:ln>
              <a:noFill/>
            </a:ln>
            <a:solidFill>
              <a:srgbClr val="000000"/>
            </a:solidFill>
            <a:effectLst/>
            <a:uLnTx/>
            <a:uFillTx/>
            <a:latin typeface="ZEISS Frutiger Next W1G"/>
            <a:ea typeface="+mn-ea"/>
            <a:cs typeface="+mn-cs"/>
          </a:defRPr>
        </a:defPPr>
      </a:lstStyle>
    </a:txDef>
  </a:objectDefaults>
  <a:extraClrSchemeLst/>
  <a:custClrLst>
    <a:custClr name="ZEISS White">
      <a:srgbClr val="FFFFFF"/>
    </a:custClr>
    <a:custClr name="ZEISS Indigo">
      <a:srgbClr val="141E8C"/>
    </a:custClr>
    <a:custClr name="ZEISS Black">
      <a:srgbClr val="000000"/>
    </a:custClr>
    <a:custClr name="ZEISS Cyan">
      <a:srgbClr val="008BD0"/>
    </a:custClr>
    <a:custClr name="leer">
      <a:srgbClr val="FFFFFF"/>
    </a:custClr>
    <a:custClr name="leer">
      <a:srgbClr val="FFFFFF"/>
    </a:custClr>
    <a:custClr name="leer">
      <a:srgbClr val="FFFFFF"/>
    </a:custClr>
    <a:custClr name="leer">
      <a:srgbClr val="FFFFFF"/>
    </a:custClr>
    <a:custClr name="leer">
      <a:srgbClr val="FFFFFF"/>
    </a:custClr>
    <a:custClr name="leer">
      <a:srgbClr val="FFFFFF"/>
    </a:custClr>
    <a:custClr name="ZEISS Black">
      <a:srgbClr val="000000"/>
    </a:custClr>
    <a:custClr name="ZEISS Gray 0 Ultradark">
      <a:srgbClr val="333333"/>
    </a:custClr>
    <a:custClr name="ZEISS Gray 1 Dark">
      <a:srgbClr val="4D4D4D"/>
    </a:custClr>
    <a:custClr name="ZEISS Gray 2 Semidark">
      <a:srgbClr val="666666"/>
    </a:custClr>
    <a:custClr name="ZEISS Gray 3 Medium">
      <a:srgbClr val="7F7F7F"/>
    </a:custClr>
    <a:custClr name="ZEISS Gray 4 Semilight">
      <a:srgbClr val="9B9B9B"/>
    </a:custClr>
    <a:custClr name="ZEISS Gray 5 Light">
      <a:srgbClr val="BCBCBC"/>
    </a:custClr>
    <a:custClr name="ZEISS Gray 6 Ultralight">
      <a:srgbClr val="DFDFDF"/>
    </a:custClr>
    <a:custClr name="ZEISS Gray 7 Semiwhite">
      <a:srgbClr val="F6F6F6"/>
    </a:custClr>
    <a:custClr name="ZEISS White">
      <a:srgbClr val="FFFFFF"/>
    </a:custClr>
    <a:custClr name="ZEISS Purple Red">
      <a:srgbClr val="A70240"/>
    </a:custClr>
    <a:custClr name="ZEISS Bright Orange Neon">
      <a:srgbClr val="FF1A00"/>
    </a:custClr>
    <a:custClr name="ZEISS Orange">
      <a:srgbClr val="EC6500"/>
    </a:custClr>
    <a:custClr name="ZEISS Bright Lemon">
      <a:srgbClr val="FECB00"/>
    </a:custClr>
    <a:custClr name="ZEISS Light Green">
      <a:srgbClr val="DEDE4C"/>
    </a:custClr>
    <a:custClr name="ZEISS Green">
      <a:srgbClr val="3C8A2E"/>
    </a:custClr>
    <a:custClr name="leer">
      <a:srgbClr val="FFFFFF"/>
    </a:custClr>
    <a:custClr name="leer">
      <a:srgbClr val="FFFFFF"/>
    </a:custClr>
    <a:custClr name="leer">
      <a:srgbClr val="FFFFFF"/>
    </a:custClr>
    <a:custClr name="leer">
      <a:srgbClr val="FFFFFF"/>
    </a:custClr>
  </a:custClrLst>
  <a:extLst>
    <a:ext uri="{05A4C25C-085E-4340-85A3-A5531E510DB2}">
      <thm15:themeFamily xmlns:thm15="http://schemas.microsoft.com/office/thememl/2012/main" name="NEU ZEISS-Praesentationsmaster-DE" id="{575E5CB2-DA27-4C96-8E76-310F266B42A9}" vid="{45A3F833-8E27-487E-A0AD-57D5A5C944E3}"/>
    </a:ext>
  </a:ext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DBA7C9CEF7F57429917BEEC53471633" ma:contentTypeVersion="2" ma:contentTypeDescription="Create a new document." ma:contentTypeScope="" ma:versionID="97b120001eb5c0e0802405b566270281">
  <xsd:schema xmlns:xsd="http://www.w3.org/2001/XMLSchema" xmlns:xs="http://www.w3.org/2001/XMLSchema" xmlns:p="http://schemas.microsoft.com/office/2006/metadata/properties" xmlns:ns2="b7680c80-ca03-400e-aa7f-e46cf9ec65ea" targetNamespace="http://schemas.microsoft.com/office/2006/metadata/properties" ma:root="true" ma:fieldsID="1e3beadebc922b68fc8dc2d05203a0dd" ns2:_="">
    <xsd:import namespace="b7680c80-ca03-400e-aa7f-e46cf9ec65e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680c80-ca03-400e-aa7f-e46cf9ec65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47888D9-541E-4A34-8B3A-51E0F06696AE}">
  <ds:schemaRefs>
    <ds:schemaRef ds:uri="http://schemas.microsoft.com/office/2006/metadata/contentType"/>
    <ds:schemaRef ds:uri="http://schemas.microsoft.com/office/2006/metadata/properties/metaAttributes"/>
    <ds:schemaRef ds:uri="http://www.w3.org/2000/xmlns/"/>
    <ds:schemaRef ds:uri="http://www.w3.org/2001/XMLSchema"/>
    <ds:schemaRef ds:uri="b7680c80-ca03-400e-aa7f-e46cf9ec65ea"/>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FA3349B-2FBF-4342-B6C8-BE663E5E66D8}">
  <ds:schemaRefs>
    <ds:schemaRef ds:uri="http://schemas.microsoft.com/sharepoint/v3/contenttype/forms"/>
  </ds:schemaRefs>
</ds:datastoreItem>
</file>

<file path=customXml/itemProps3.xml><?xml version="1.0" encoding="utf-8"?>
<ds:datastoreItem xmlns:ds="http://schemas.openxmlformats.org/officeDocument/2006/customXml" ds:itemID="{BAB29623-CE4D-4D72-84CB-7E7DC0E119A2}">
  <ds:schemaRefs>
    <ds:schemaRef ds:uri="http://schemas.microsoft.com/office/2006/metadata/properties"/>
    <ds:schemaRef ds:uri="http://www.w3.org/2000/xmlns/"/>
    <ds:schemaRef ds:uri="http://schemas.microsoft.com/office/infopath/2007/PartnerControls"/>
  </ds:schemaRefs>
</ds:datastoreItem>
</file>

<file path=docMetadata/LabelInfo.xml><?xml version="1.0" encoding="utf-8"?>
<clbl:labelList xmlns:clbl="http://schemas.microsoft.com/office/2020/mipLabelMetadata">
  <clbl:label id="{28042244-bb51-4cd6-8034-7776fa3703e8}" enabled="0" method="" siteId="{28042244-bb51-4cd6-8034-7776fa3703e8}" removed="1"/>
</clbl:labelList>
</file>

<file path=docProps/app.xml><?xml version="1.0" encoding="utf-8"?>
<Properties xmlns="http://schemas.openxmlformats.org/officeDocument/2006/extended-properties" xmlns:vt="http://schemas.openxmlformats.org/officeDocument/2006/docPropsVTypes">
  <Template/>
  <TotalTime>0</TotalTime>
  <Words>917</Words>
  <Application>Microsoft Office PowerPoint</Application>
  <PresentationFormat>Breitbild</PresentationFormat>
  <Paragraphs>129</Paragraphs>
  <Slides>22</Slides>
  <Notes>4</Notes>
  <HiddenSlides>1</HiddenSlides>
  <MMClips>0</MMClips>
  <ScaleCrop>false</ScaleCrop>
  <HeadingPairs>
    <vt:vector size="6" baseType="variant">
      <vt:variant>
        <vt:lpstr>Verwendete Schriftarten</vt:lpstr>
      </vt:variant>
      <vt:variant>
        <vt:i4>8</vt:i4>
      </vt:variant>
      <vt:variant>
        <vt:lpstr>Design</vt:lpstr>
      </vt:variant>
      <vt:variant>
        <vt:i4>2</vt:i4>
      </vt:variant>
      <vt:variant>
        <vt:lpstr>Folientitel</vt:lpstr>
      </vt:variant>
      <vt:variant>
        <vt:i4>22</vt:i4>
      </vt:variant>
    </vt:vector>
  </HeadingPairs>
  <TitlesOfParts>
    <vt:vector size="32" baseType="lpstr">
      <vt:lpstr>Arial</vt:lpstr>
      <vt:lpstr>Calibri</vt:lpstr>
      <vt:lpstr>Calibri Light</vt:lpstr>
      <vt:lpstr>FZShuTi</vt:lpstr>
      <vt:lpstr>Symbol</vt:lpstr>
      <vt:lpstr>Wingdings</vt:lpstr>
      <vt:lpstr>ZEISS Frutiger Next W1G</vt:lpstr>
      <vt:lpstr>ZEISS Frutiger Next W1G Lt</vt:lpstr>
      <vt:lpstr>DHBW x Zeiss Master</vt:lpstr>
      <vt:lpstr>Benutzerdefiniertes Design</vt:lpstr>
      <vt:lpstr>GMALL: Stewart Platform</vt:lpstr>
      <vt:lpstr>Agenda</vt:lpstr>
      <vt:lpstr>Design Goals</vt:lpstr>
      <vt:lpstr>What Makes Our Platform Unique?</vt:lpstr>
      <vt:lpstr>Mechanical Design and Iterations</vt:lpstr>
      <vt:lpstr>Mechanical Design and Iterations</vt:lpstr>
      <vt:lpstr>Mechanical Design and Iterations</vt:lpstr>
      <vt:lpstr>Mechanical Design and Iterations</vt:lpstr>
      <vt:lpstr>Mechanical Design and Iterations</vt:lpstr>
      <vt:lpstr>Mechanical Design and Iterations</vt:lpstr>
      <vt:lpstr>Mechanical Design and Iterations</vt:lpstr>
      <vt:lpstr>Mechanical Design and Iterations</vt:lpstr>
      <vt:lpstr>Mechanical Design and Iterations</vt:lpstr>
      <vt:lpstr>PowerPoint-Präsentation</vt:lpstr>
      <vt:lpstr>PowerPoint-Präsentation</vt:lpstr>
      <vt:lpstr>PowerPoint-Präsentation</vt:lpstr>
      <vt:lpstr>PowerPoint-Präsentation</vt:lpstr>
      <vt:lpstr>Controller Development</vt:lpstr>
      <vt:lpstr>Control Cycle</vt:lpstr>
      <vt:lpstr>Lessons Learned</vt:lpstr>
      <vt:lpstr>PowerPoint-Präsentation</vt:lpstr>
      <vt:lpstr>What Makes Our Platform Uniqu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ZEISS Präsentationen Präsentationsmaster</dc:title>
  <dc:creator>Marvin Bullinger</dc:creator>
  <cp:lastModifiedBy>Bullinger, Marvin</cp:lastModifiedBy>
  <cp:revision>9</cp:revision>
  <dcterms:created xsi:type="dcterms:W3CDTF">2023-03-09T17:49:08Z</dcterms:created>
  <dcterms:modified xsi:type="dcterms:W3CDTF">2025-02-17T12:4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DBA7C9CEF7F57429917BEEC53471633</vt:lpwstr>
  </property>
  <property fmtid="{D5CDD505-2E9C-101B-9397-08002B2CF9AE}" pid="3" name="Order">
    <vt:r8>16982000</vt:r8>
  </property>
  <property fmtid="{D5CDD505-2E9C-101B-9397-08002B2CF9AE}" pid="4" name="xd_Signature">
    <vt:bool>false</vt:bool>
  </property>
  <property fmtid="{D5CDD505-2E9C-101B-9397-08002B2CF9AE}" pid="5" name="SharedWithUsers">
    <vt:lpwstr>660;#Roder, Thomas;#659;#Kressirer, Peter;#661;#Leoff, Louisa</vt:lpwstr>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ies>
</file>